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11"/>
  </p:notesMasterIdLst>
  <p:sldIdLst>
    <p:sldId id="277" r:id="rId6"/>
    <p:sldId id="280" r:id="rId7"/>
    <p:sldId id="281" r:id="rId8"/>
    <p:sldId id="282" r:id="rId9"/>
    <p:sldId id="284" r:id="rId10"/>
  </p:sldIdLst>
  <p:sldSz cx="9144000" cy="5143500" type="screen16x9"/>
  <p:notesSz cx="6858000" cy="9144000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3" orient="horz" pos="1620" userDrawn="1">
          <p15:clr>
            <a:srgbClr val="A4A3A4"/>
          </p15:clr>
        </p15:guide>
        <p15:guide id="4" orient="horz" pos="826" userDrawn="1">
          <p15:clr>
            <a:srgbClr val="A4A3A4"/>
          </p15:clr>
        </p15:guide>
        <p15:guide id="5" orient="horz" pos="2867" userDrawn="1">
          <p15:clr>
            <a:srgbClr val="A4A3A4"/>
          </p15:clr>
        </p15:guide>
        <p15:guide id="6" pos="272" userDrawn="1">
          <p15:clr>
            <a:srgbClr val="A4A3A4"/>
          </p15:clr>
        </p15:guide>
        <p15:guide id="7" pos="5488" userDrawn="1">
          <p15:clr>
            <a:srgbClr val="A4A3A4"/>
          </p15:clr>
        </p15:guide>
        <p15:guide id="8" orient="horz" pos="44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ja Müller" initials="AM" lastIdx="1" clrIdx="0">
    <p:extLst>
      <p:ext uri="{19B8F6BF-5375-455C-9EA6-DF929625EA0E}">
        <p15:presenceInfo xmlns:p15="http://schemas.microsoft.com/office/powerpoint/2012/main" userId="S::a.mueller@drk.de::af7d0895-9a62-4f40-b72b-ac1539305c72" providerId="AD"/>
      </p:ext>
    </p:extLst>
  </p:cmAuthor>
  <p:cmAuthor id="2" name="Anna-Lena Kose" initials="AK" lastIdx="1" clrIdx="1">
    <p:extLst>
      <p:ext uri="{19B8F6BF-5375-455C-9EA6-DF929625EA0E}">
        <p15:presenceInfo xmlns:p15="http://schemas.microsoft.com/office/powerpoint/2012/main" userId="S::a.kose@drk.de::32f93448-d1e9-4841-8b52-623bcf19987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CF6FF"/>
    <a:srgbClr val="FAC3AF"/>
    <a:srgbClr val="E6E6E6"/>
    <a:srgbClr val="002C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490DFD-FCBC-4271-9BE0-4555CE8D4ADE}" v="72" dt="2020-11-30T20:15:22.1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438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984" y="64"/>
      </p:cViewPr>
      <p:guideLst>
        <p:guide pos="2880"/>
        <p:guide orient="horz" pos="1620"/>
        <p:guide orient="horz" pos="826"/>
        <p:guide orient="horz" pos="2867"/>
        <p:guide pos="272"/>
        <p:guide pos="5488"/>
        <p:guide orient="horz" pos="44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a-Lena Kose" userId="32f93448-d1e9-4841-8b52-623bcf199870" providerId="ADAL" clId="{09490DFD-FCBC-4271-9BE0-4555CE8D4ADE}"/>
    <pc:docChg chg="undo redo custSel addSld delSld modSld">
      <pc:chgData name="Anna-Lena Kose" userId="32f93448-d1e9-4841-8b52-623bcf199870" providerId="ADAL" clId="{09490DFD-FCBC-4271-9BE0-4555CE8D4ADE}" dt="2020-11-30T20:15:54.899" v="645" actId="20577"/>
      <pc:docMkLst>
        <pc:docMk/>
      </pc:docMkLst>
      <pc:sldChg chg="modSp mod">
        <pc:chgData name="Anna-Lena Kose" userId="32f93448-d1e9-4841-8b52-623bcf199870" providerId="ADAL" clId="{09490DFD-FCBC-4271-9BE0-4555CE8D4ADE}" dt="2020-11-30T19:44:19.315" v="68" actId="20577"/>
        <pc:sldMkLst>
          <pc:docMk/>
          <pc:sldMk cId="373858667" sldId="277"/>
        </pc:sldMkLst>
        <pc:spChg chg="mod">
          <ac:chgData name="Anna-Lena Kose" userId="32f93448-d1e9-4841-8b52-623bcf199870" providerId="ADAL" clId="{09490DFD-FCBC-4271-9BE0-4555CE8D4ADE}" dt="2020-11-30T19:44:19.315" v="68" actId="20577"/>
          <ac:spMkLst>
            <pc:docMk/>
            <pc:sldMk cId="373858667" sldId="277"/>
            <ac:spMk id="8" creationId="{00000000-0000-0000-0000-000000000000}"/>
          </ac:spMkLst>
        </pc:spChg>
        <pc:spChg chg="mod">
          <ac:chgData name="Anna-Lena Kose" userId="32f93448-d1e9-4841-8b52-623bcf199870" providerId="ADAL" clId="{09490DFD-FCBC-4271-9BE0-4555CE8D4ADE}" dt="2020-11-30T19:44:09.320" v="45" actId="20577"/>
          <ac:spMkLst>
            <pc:docMk/>
            <pc:sldMk cId="373858667" sldId="277"/>
            <ac:spMk id="9" creationId="{00000000-0000-0000-0000-000000000000}"/>
          </ac:spMkLst>
        </pc:spChg>
      </pc:sldChg>
      <pc:sldChg chg="del">
        <pc:chgData name="Anna-Lena Kose" userId="32f93448-d1e9-4841-8b52-623bcf199870" providerId="ADAL" clId="{09490DFD-FCBC-4271-9BE0-4555CE8D4ADE}" dt="2020-11-30T19:50:05.194" v="125" actId="47"/>
        <pc:sldMkLst>
          <pc:docMk/>
          <pc:sldMk cId="3077554626" sldId="279"/>
        </pc:sldMkLst>
      </pc:sldChg>
      <pc:sldChg chg="addSp delSp modSp new mod">
        <pc:chgData name="Anna-Lena Kose" userId="32f93448-d1e9-4841-8b52-623bcf199870" providerId="ADAL" clId="{09490DFD-FCBC-4271-9BE0-4555CE8D4ADE}" dt="2020-11-30T19:53:24.187" v="246" actId="20577"/>
        <pc:sldMkLst>
          <pc:docMk/>
          <pc:sldMk cId="3996525415" sldId="280"/>
        </pc:sldMkLst>
        <pc:spChg chg="mod">
          <ac:chgData name="Anna-Lena Kose" userId="32f93448-d1e9-4841-8b52-623bcf199870" providerId="ADAL" clId="{09490DFD-FCBC-4271-9BE0-4555CE8D4ADE}" dt="2020-11-30T19:50:30.125" v="185" actId="20577"/>
          <ac:spMkLst>
            <pc:docMk/>
            <pc:sldMk cId="3996525415" sldId="280"/>
            <ac:spMk id="2" creationId="{7AD66A53-AF7B-41C2-B962-456F6D4EFEC9}"/>
          </ac:spMkLst>
        </pc:spChg>
        <pc:spChg chg="del">
          <ac:chgData name="Anna-Lena Kose" userId="32f93448-d1e9-4841-8b52-623bcf199870" providerId="ADAL" clId="{09490DFD-FCBC-4271-9BE0-4555CE8D4ADE}" dt="2020-11-30T19:44:48.542" v="71" actId="478"/>
          <ac:spMkLst>
            <pc:docMk/>
            <pc:sldMk cId="3996525415" sldId="280"/>
            <ac:spMk id="4" creationId="{A84E6214-013E-42A1-B309-04BFD34618B5}"/>
          </ac:spMkLst>
        </pc:spChg>
        <pc:spChg chg="mod">
          <ac:chgData name="Anna-Lena Kose" userId="32f93448-d1e9-4841-8b52-623bcf199870" providerId="ADAL" clId="{09490DFD-FCBC-4271-9BE0-4555CE8D4ADE}" dt="2020-11-30T19:45:09.506" v="73"/>
          <ac:spMkLst>
            <pc:docMk/>
            <pc:sldMk cId="3996525415" sldId="280"/>
            <ac:spMk id="5" creationId="{7CC7E5CA-E10F-4C69-8CC2-58D77C6B35CE}"/>
          </ac:spMkLst>
        </pc:spChg>
        <pc:spChg chg="del">
          <ac:chgData name="Anna-Lena Kose" userId="32f93448-d1e9-4841-8b52-623bcf199870" providerId="ADAL" clId="{09490DFD-FCBC-4271-9BE0-4555CE8D4ADE}" dt="2020-11-30T19:44:44.309" v="70" actId="478"/>
          <ac:spMkLst>
            <pc:docMk/>
            <pc:sldMk cId="3996525415" sldId="280"/>
            <ac:spMk id="6" creationId="{45D9BA44-186F-4A89-AC03-0C5CE49AA181}"/>
          </ac:spMkLst>
        </pc:spChg>
        <pc:spChg chg="add mod ord">
          <ac:chgData name="Anna-Lena Kose" userId="32f93448-d1e9-4841-8b52-623bcf199870" providerId="ADAL" clId="{09490DFD-FCBC-4271-9BE0-4555CE8D4ADE}" dt="2020-11-30T19:52:15.634" v="217" actId="14100"/>
          <ac:spMkLst>
            <pc:docMk/>
            <pc:sldMk cId="3996525415" sldId="280"/>
            <ac:spMk id="7" creationId="{795D8028-B6C9-4A29-9E55-C022E69A55B6}"/>
          </ac:spMkLst>
        </pc:spChg>
        <pc:spChg chg="mod">
          <ac:chgData name="Anna-Lena Kose" userId="32f93448-d1e9-4841-8b52-623bcf199870" providerId="ADAL" clId="{09490DFD-FCBC-4271-9BE0-4555CE8D4ADE}" dt="2020-11-30T19:45:17.487" v="74"/>
          <ac:spMkLst>
            <pc:docMk/>
            <pc:sldMk cId="3996525415" sldId="280"/>
            <ac:spMk id="10" creationId="{3DFB4981-B154-4851-A552-0F387724D32E}"/>
          </ac:spMkLst>
        </pc:spChg>
        <pc:spChg chg="mod">
          <ac:chgData name="Anna-Lena Kose" userId="32f93448-d1e9-4841-8b52-623bcf199870" providerId="ADAL" clId="{09490DFD-FCBC-4271-9BE0-4555CE8D4ADE}" dt="2020-11-30T19:45:17.487" v="74"/>
          <ac:spMkLst>
            <pc:docMk/>
            <pc:sldMk cId="3996525415" sldId="280"/>
            <ac:spMk id="11" creationId="{6697EA13-5DE6-4A8C-992F-69780C1326F7}"/>
          </ac:spMkLst>
        </pc:spChg>
        <pc:spChg chg="mod">
          <ac:chgData name="Anna-Lena Kose" userId="32f93448-d1e9-4841-8b52-623bcf199870" providerId="ADAL" clId="{09490DFD-FCBC-4271-9BE0-4555CE8D4ADE}" dt="2020-11-30T19:45:17.487" v="74"/>
          <ac:spMkLst>
            <pc:docMk/>
            <pc:sldMk cId="3996525415" sldId="280"/>
            <ac:spMk id="13" creationId="{D8E6EA63-3806-4E04-BDB5-1D357C325C29}"/>
          </ac:spMkLst>
        </pc:spChg>
        <pc:spChg chg="mod">
          <ac:chgData name="Anna-Lena Kose" userId="32f93448-d1e9-4841-8b52-623bcf199870" providerId="ADAL" clId="{09490DFD-FCBC-4271-9BE0-4555CE8D4ADE}" dt="2020-11-30T19:45:17.487" v="74"/>
          <ac:spMkLst>
            <pc:docMk/>
            <pc:sldMk cId="3996525415" sldId="280"/>
            <ac:spMk id="14" creationId="{A88537C4-0AA8-47F1-BB9D-36E7BB3C47B8}"/>
          </ac:spMkLst>
        </pc:spChg>
        <pc:spChg chg="mod">
          <ac:chgData name="Anna-Lena Kose" userId="32f93448-d1e9-4841-8b52-623bcf199870" providerId="ADAL" clId="{09490DFD-FCBC-4271-9BE0-4555CE8D4ADE}" dt="2020-11-30T19:45:17.487" v="74"/>
          <ac:spMkLst>
            <pc:docMk/>
            <pc:sldMk cId="3996525415" sldId="280"/>
            <ac:spMk id="19" creationId="{586A4125-09E4-4352-9875-2F5B327A4F4D}"/>
          </ac:spMkLst>
        </pc:spChg>
        <pc:spChg chg="mod">
          <ac:chgData name="Anna-Lena Kose" userId="32f93448-d1e9-4841-8b52-623bcf199870" providerId="ADAL" clId="{09490DFD-FCBC-4271-9BE0-4555CE8D4ADE}" dt="2020-11-30T19:45:17.487" v="74"/>
          <ac:spMkLst>
            <pc:docMk/>
            <pc:sldMk cId="3996525415" sldId="280"/>
            <ac:spMk id="20" creationId="{8B2E8079-B329-44DD-963C-44F7CC0011B1}"/>
          </ac:spMkLst>
        </pc:spChg>
        <pc:spChg chg="mod">
          <ac:chgData name="Anna-Lena Kose" userId="32f93448-d1e9-4841-8b52-623bcf199870" providerId="ADAL" clId="{09490DFD-FCBC-4271-9BE0-4555CE8D4ADE}" dt="2020-11-30T19:45:17.487" v="74"/>
          <ac:spMkLst>
            <pc:docMk/>
            <pc:sldMk cId="3996525415" sldId="280"/>
            <ac:spMk id="21" creationId="{96310EE1-D57C-4A0F-B31D-D996FDD31A35}"/>
          </ac:spMkLst>
        </pc:spChg>
        <pc:spChg chg="mod">
          <ac:chgData name="Anna-Lena Kose" userId="32f93448-d1e9-4841-8b52-623bcf199870" providerId="ADAL" clId="{09490DFD-FCBC-4271-9BE0-4555CE8D4ADE}" dt="2020-11-30T19:45:17.487" v="74"/>
          <ac:spMkLst>
            <pc:docMk/>
            <pc:sldMk cId="3996525415" sldId="280"/>
            <ac:spMk id="22" creationId="{F479781A-7DAB-422D-BEF1-114A947A2D79}"/>
          </ac:spMkLst>
        </pc:spChg>
        <pc:spChg chg="mod">
          <ac:chgData name="Anna-Lena Kose" userId="32f93448-d1e9-4841-8b52-623bcf199870" providerId="ADAL" clId="{09490DFD-FCBC-4271-9BE0-4555CE8D4ADE}" dt="2020-11-30T19:45:17.487" v="74"/>
          <ac:spMkLst>
            <pc:docMk/>
            <pc:sldMk cId="3996525415" sldId="280"/>
            <ac:spMk id="23" creationId="{FA04378D-A772-4040-8C61-0C1F5A7D0D15}"/>
          </ac:spMkLst>
        </pc:spChg>
        <pc:spChg chg="mod">
          <ac:chgData name="Anna-Lena Kose" userId="32f93448-d1e9-4841-8b52-623bcf199870" providerId="ADAL" clId="{09490DFD-FCBC-4271-9BE0-4555CE8D4ADE}" dt="2020-11-30T19:45:17.487" v="74"/>
          <ac:spMkLst>
            <pc:docMk/>
            <pc:sldMk cId="3996525415" sldId="280"/>
            <ac:spMk id="24" creationId="{6ED64DB3-065B-4BED-AA0A-5EB125FA87BE}"/>
          </ac:spMkLst>
        </pc:spChg>
        <pc:spChg chg="mod">
          <ac:chgData name="Anna-Lena Kose" userId="32f93448-d1e9-4841-8b52-623bcf199870" providerId="ADAL" clId="{09490DFD-FCBC-4271-9BE0-4555CE8D4ADE}" dt="2020-11-30T19:45:17.487" v="74"/>
          <ac:spMkLst>
            <pc:docMk/>
            <pc:sldMk cId="3996525415" sldId="280"/>
            <ac:spMk id="25" creationId="{F17DFC54-16DD-4CA3-B86A-204A82DBE722}"/>
          </ac:spMkLst>
        </pc:spChg>
        <pc:spChg chg="mod">
          <ac:chgData name="Anna-Lena Kose" userId="32f93448-d1e9-4841-8b52-623bcf199870" providerId="ADAL" clId="{09490DFD-FCBC-4271-9BE0-4555CE8D4ADE}" dt="2020-11-30T19:45:17.487" v="74"/>
          <ac:spMkLst>
            <pc:docMk/>
            <pc:sldMk cId="3996525415" sldId="280"/>
            <ac:spMk id="26" creationId="{B91A8DF9-1F39-4340-8D50-BCEE6F9EEF0D}"/>
          </ac:spMkLst>
        </pc:spChg>
        <pc:spChg chg="add del mod ord">
          <ac:chgData name="Anna-Lena Kose" userId="32f93448-d1e9-4841-8b52-623bcf199870" providerId="ADAL" clId="{09490DFD-FCBC-4271-9BE0-4555CE8D4ADE}" dt="2020-11-30T19:49:58.278" v="124" actId="166"/>
          <ac:spMkLst>
            <pc:docMk/>
            <pc:sldMk cId="3996525415" sldId="280"/>
            <ac:spMk id="27" creationId="{034874B8-80BB-4C5A-BE3D-CE3207BF3D8D}"/>
          </ac:spMkLst>
        </pc:spChg>
        <pc:spChg chg="add del mod ord">
          <ac:chgData name="Anna-Lena Kose" userId="32f93448-d1e9-4841-8b52-623bcf199870" providerId="ADAL" clId="{09490DFD-FCBC-4271-9BE0-4555CE8D4ADE}" dt="2020-11-30T19:49:35.482" v="122" actId="1038"/>
          <ac:spMkLst>
            <pc:docMk/>
            <pc:sldMk cId="3996525415" sldId="280"/>
            <ac:spMk id="28" creationId="{026586E8-D842-4C50-905E-2CB8E8738AA5}"/>
          </ac:spMkLst>
        </pc:spChg>
        <pc:spChg chg="add del mod">
          <ac:chgData name="Anna-Lena Kose" userId="32f93448-d1e9-4841-8b52-623bcf199870" providerId="ADAL" clId="{09490DFD-FCBC-4271-9BE0-4555CE8D4ADE}" dt="2020-11-30T19:49:16.357" v="113" actId="14100"/>
          <ac:spMkLst>
            <pc:docMk/>
            <pc:sldMk cId="3996525415" sldId="280"/>
            <ac:spMk id="29" creationId="{91B41E04-8CDB-4255-93E6-41AED3ECE53B}"/>
          </ac:spMkLst>
        </pc:spChg>
        <pc:spChg chg="add del mod">
          <ac:chgData name="Anna-Lena Kose" userId="32f93448-d1e9-4841-8b52-623bcf199870" providerId="ADAL" clId="{09490DFD-FCBC-4271-9BE0-4555CE8D4ADE}" dt="2020-11-30T19:47:22.801" v="99"/>
          <ac:spMkLst>
            <pc:docMk/>
            <pc:sldMk cId="3996525415" sldId="280"/>
            <ac:spMk id="30" creationId="{3785B72C-797F-4493-A926-23741603051D}"/>
          </ac:spMkLst>
        </pc:spChg>
        <pc:spChg chg="add mod">
          <ac:chgData name="Anna-Lena Kose" userId="32f93448-d1e9-4841-8b52-623bcf199870" providerId="ADAL" clId="{09490DFD-FCBC-4271-9BE0-4555CE8D4ADE}" dt="2020-11-30T19:53:24.187" v="246" actId="20577"/>
          <ac:spMkLst>
            <pc:docMk/>
            <pc:sldMk cId="3996525415" sldId="280"/>
            <ac:spMk id="32" creationId="{B15D0415-C630-4547-A867-12A05328121A}"/>
          </ac:spMkLst>
        </pc:spChg>
        <pc:grpChg chg="add del mod">
          <ac:chgData name="Anna-Lena Kose" userId="32f93448-d1e9-4841-8b52-623bcf199870" providerId="ADAL" clId="{09490DFD-FCBC-4271-9BE0-4555CE8D4ADE}" dt="2020-11-30T19:47:19.508" v="96" actId="478"/>
          <ac:grpSpMkLst>
            <pc:docMk/>
            <pc:sldMk cId="3996525415" sldId="280"/>
            <ac:grpSpMk id="8" creationId="{013A7ED3-A463-4B03-8854-F40603C4CE80}"/>
          </ac:grpSpMkLst>
        </pc:grpChg>
        <pc:grpChg chg="mod">
          <ac:chgData name="Anna-Lena Kose" userId="32f93448-d1e9-4841-8b52-623bcf199870" providerId="ADAL" clId="{09490DFD-FCBC-4271-9BE0-4555CE8D4ADE}" dt="2020-11-30T19:45:17.487" v="74"/>
          <ac:grpSpMkLst>
            <pc:docMk/>
            <pc:sldMk cId="3996525415" sldId="280"/>
            <ac:grpSpMk id="9" creationId="{4D897952-2A7D-4F27-B9B6-23A0B92E3602}"/>
          </ac:grpSpMkLst>
        </pc:grpChg>
        <pc:grpChg chg="mod">
          <ac:chgData name="Anna-Lena Kose" userId="32f93448-d1e9-4841-8b52-623bcf199870" providerId="ADAL" clId="{09490DFD-FCBC-4271-9BE0-4555CE8D4ADE}" dt="2020-11-30T19:45:17.487" v="74"/>
          <ac:grpSpMkLst>
            <pc:docMk/>
            <pc:sldMk cId="3996525415" sldId="280"/>
            <ac:grpSpMk id="12" creationId="{CE2F96D5-EA26-4095-850F-6F5E149F518C}"/>
          </ac:grpSpMkLst>
        </pc:grpChg>
        <pc:grpChg chg="mod">
          <ac:chgData name="Anna-Lena Kose" userId="32f93448-d1e9-4841-8b52-623bcf199870" providerId="ADAL" clId="{09490DFD-FCBC-4271-9BE0-4555CE8D4ADE}" dt="2020-11-30T19:45:17.487" v="74"/>
          <ac:grpSpMkLst>
            <pc:docMk/>
            <pc:sldMk cId="3996525415" sldId="280"/>
            <ac:grpSpMk id="15" creationId="{B0B29C47-FB5D-4B9C-B26A-4FB317E2ABF6}"/>
          </ac:grpSpMkLst>
        </pc:grpChg>
        <pc:grpChg chg="mod">
          <ac:chgData name="Anna-Lena Kose" userId="32f93448-d1e9-4841-8b52-623bcf199870" providerId="ADAL" clId="{09490DFD-FCBC-4271-9BE0-4555CE8D4ADE}" dt="2020-11-30T19:45:17.487" v="74"/>
          <ac:grpSpMkLst>
            <pc:docMk/>
            <pc:sldMk cId="3996525415" sldId="280"/>
            <ac:grpSpMk id="16" creationId="{C3B6E6C6-4912-40DE-8D5B-92D46E3E4ECD}"/>
          </ac:grpSpMkLst>
        </pc:grpChg>
        <pc:grpChg chg="mod">
          <ac:chgData name="Anna-Lena Kose" userId="32f93448-d1e9-4841-8b52-623bcf199870" providerId="ADAL" clId="{09490DFD-FCBC-4271-9BE0-4555CE8D4ADE}" dt="2020-11-30T19:45:17.487" v="74"/>
          <ac:grpSpMkLst>
            <pc:docMk/>
            <pc:sldMk cId="3996525415" sldId="280"/>
            <ac:grpSpMk id="17" creationId="{E8F7810D-9449-4FBD-AA0D-01CA74BC0E20}"/>
          </ac:grpSpMkLst>
        </pc:grpChg>
        <pc:grpChg chg="mod">
          <ac:chgData name="Anna-Lena Kose" userId="32f93448-d1e9-4841-8b52-623bcf199870" providerId="ADAL" clId="{09490DFD-FCBC-4271-9BE0-4555CE8D4ADE}" dt="2020-11-30T19:45:17.487" v="74"/>
          <ac:grpSpMkLst>
            <pc:docMk/>
            <pc:sldMk cId="3996525415" sldId="280"/>
            <ac:grpSpMk id="18" creationId="{B305148B-DA07-4A2D-8411-34AA4410ADBC}"/>
          </ac:grpSpMkLst>
        </pc:grpChg>
        <pc:picChg chg="add mod ord">
          <ac:chgData name="Anna-Lena Kose" userId="32f93448-d1e9-4841-8b52-623bcf199870" providerId="ADAL" clId="{09490DFD-FCBC-4271-9BE0-4555CE8D4ADE}" dt="2020-11-30T19:49:35.482" v="122" actId="1038"/>
          <ac:picMkLst>
            <pc:docMk/>
            <pc:sldMk cId="3996525415" sldId="280"/>
            <ac:picMk id="31" creationId="{D9465DCC-40D9-4DA3-9941-8D6D47EB103A}"/>
          </ac:picMkLst>
        </pc:picChg>
      </pc:sldChg>
      <pc:sldChg chg="addSp delSp modSp add mod">
        <pc:chgData name="Anna-Lena Kose" userId="32f93448-d1e9-4841-8b52-623bcf199870" providerId="ADAL" clId="{09490DFD-FCBC-4271-9BE0-4555CE8D4ADE}" dt="2020-11-30T19:53:41.516" v="280" actId="20577"/>
        <pc:sldMkLst>
          <pc:docMk/>
          <pc:sldMk cId="2933865477" sldId="281"/>
        </pc:sldMkLst>
        <pc:spChg chg="del mod">
          <ac:chgData name="Anna-Lena Kose" userId="32f93448-d1e9-4841-8b52-623bcf199870" providerId="ADAL" clId="{09490DFD-FCBC-4271-9BE0-4555CE8D4ADE}" dt="2020-11-30T19:51:50.512" v="215" actId="478"/>
          <ac:spMkLst>
            <pc:docMk/>
            <pc:sldMk cId="2933865477" sldId="281"/>
            <ac:spMk id="5" creationId="{7CC7E5CA-E10F-4C69-8CC2-58D77C6B35CE}"/>
          </ac:spMkLst>
        </pc:spChg>
        <pc:spChg chg="add del mod">
          <ac:chgData name="Anna-Lena Kose" userId="32f93448-d1e9-4841-8b52-623bcf199870" providerId="ADAL" clId="{09490DFD-FCBC-4271-9BE0-4555CE8D4ADE}" dt="2020-11-30T19:51:54.738" v="216" actId="478"/>
          <ac:spMkLst>
            <pc:docMk/>
            <pc:sldMk cId="2933865477" sldId="281"/>
            <ac:spMk id="6" creationId="{904EA156-EB9D-4995-B3B9-D4A1397F811B}"/>
          </ac:spMkLst>
        </pc:spChg>
        <pc:spChg chg="del">
          <ac:chgData name="Anna-Lena Kose" userId="32f93448-d1e9-4841-8b52-623bcf199870" providerId="ADAL" clId="{09490DFD-FCBC-4271-9BE0-4555CE8D4ADE}" dt="2020-11-30T19:51:00.303" v="190" actId="478"/>
          <ac:spMkLst>
            <pc:docMk/>
            <pc:sldMk cId="2933865477" sldId="281"/>
            <ac:spMk id="27" creationId="{034874B8-80BB-4C5A-BE3D-CE3207BF3D8D}"/>
          </ac:spMkLst>
        </pc:spChg>
        <pc:spChg chg="del">
          <ac:chgData name="Anna-Lena Kose" userId="32f93448-d1e9-4841-8b52-623bcf199870" providerId="ADAL" clId="{09490DFD-FCBC-4271-9BE0-4555CE8D4ADE}" dt="2020-11-30T19:50:51.766" v="187" actId="478"/>
          <ac:spMkLst>
            <pc:docMk/>
            <pc:sldMk cId="2933865477" sldId="281"/>
            <ac:spMk id="28" creationId="{026586E8-D842-4C50-905E-2CB8E8738AA5}"/>
          </ac:spMkLst>
        </pc:spChg>
        <pc:spChg chg="del">
          <ac:chgData name="Anna-Lena Kose" userId="32f93448-d1e9-4841-8b52-623bcf199870" providerId="ADAL" clId="{09490DFD-FCBC-4271-9BE0-4555CE8D4ADE}" dt="2020-11-30T19:50:55.175" v="189" actId="478"/>
          <ac:spMkLst>
            <pc:docMk/>
            <pc:sldMk cId="2933865477" sldId="281"/>
            <ac:spMk id="29" creationId="{91B41E04-8CDB-4255-93E6-41AED3ECE53B}"/>
          </ac:spMkLst>
        </pc:spChg>
        <pc:spChg chg="del mod">
          <ac:chgData name="Anna-Lena Kose" userId="32f93448-d1e9-4841-8b52-623bcf199870" providerId="ADAL" clId="{09490DFD-FCBC-4271-9BE0-4555CE8D4ADE}" dt="2020-11-30T19:51:02.144" v="192" actId="478"/>
          <ac:spMkLst>
            <pc:docMk/>
            <pc:sldMk cId="2933865477" sldId="281"/>
            <ac:spMk id="30" creationId="{3785B72C-797F-4493-A926-23741603051D}"/>
          </ac:spMkLst>
        </pc:spChg>
        <pc:spChg chg="mod">
          <ac:chgData name="Anna-Lena Kose" userId="32f93448-d1e9-4841-8b52-623bcf199870" providerId="ADAL" clId="{09490DFD-FCBC-4271-9BE0-4555CE8D4ADE}" dt="2020-11-30T19:51:26.269" v="194"/>
          <ac:spMkLst>
            <pc:docMk/>
            <pc:sldMk cId="2933865477" sldId="281"/>
            <ac:spMk id="34" creationId="{18A7DFFC-88F8-49DC-ACA1-D8AFB2AEAB13}"/>
          </ac:spMkLst>
        </pc:spChg>
        <pc:spChg chg="mod">
          <ac:chgData name="Anna-Lena Kose" userId="32f93448-d1e9-4841-8b52-623bcf199870" providerId="ADAL" clId="{09490DFD-FCBC-4271-9BE0-4555CE8D4ADE}" dt="2020-11-30T19:51:26.269" v="194"/>
          <ac:spMkLst>
            <pc:docMk/>
            <pc:sldMk cId="2933865477" sldId="281"/>
            <ac:spMk id="35" creationId="{101FDA81-B67C-4ECF-8E4D-E552EE226428}"/>
          </ac:spMkLst>
        </pc:spChg>
        <pc:spChg chg="mod">
          <ac:chgData name="Anna-Lena Kose" userId="32f93448-d1e9-4841-8b52-623bcf199870" providerId="ADAL" clId="{09490DFD-FCBC-4271-9BE0-4555CE8D4ADE}" dt="2020-11-30T19:51:26.269" v="194"/>
          <ac:spMkLst>
            <pc:docMk/>
            <pc:sldMk cId="2933865477" sldId="281"/>
            <ac:spMk id="37" creationId="{13735DC6-C4CE-4144-BE7F-697CBA45DDE0}"/>
          </ac:spMkLst>
        </pc:spChg>
        <pc:spChg chg="mod">
          <ac:chgData name="Anna-Lena Kose" userId="32f93448-d1e9-4841-8b52-623bcf199870" providerId="ADAL" clId="{09490DFD-FCBC-4271-9BE0-4555CE8D4ADE}" dt="2020-11-30T19:51:26.269" v="194"/>
          <ac:spMkLst>
            <pc:docMk/>
            <pc:sldMk cId="2933865477" sldId="281"/>
            <ac:spMk id="38" creationId="{8A60244D-D87E-4194-87CD-E07BD96E1601}"/>
          </ac:spMkLst>
        </pc:spChg>
        <pc:spChg chg="mod">
          <ac:chgData name="Anna-Lena Kose" userId="32f93448-d1e9-4841-8b52-623bcf199870" providerId="ADAL" clId="{09490DFD-FCBC-4271-9BE0-4555CE8D4ADE}" dt="2020-11-30T19:51:26.269" v="194"/>
          <ac:spMkLst>
            <pc:docMk/>
            <pc:sldMk cId="2933865477" sldId="281"/>
            <ac:spMk id="43" creationId="{342948DA-314A-4329-8E4F-F56C7CB772DA}"/>
          </ac:spMkLst>
        </pc:spChg>
        <pc:spChg chg="mod">
          <ac:chgData name="Anna-Lena Kose" userId="32f93448-d1e9-4841-8b52-623bcf199870" providerId="ADAL" clId="{09490DFD-FCBC-4271-9BE0-4555CE8D4ADE}" dt="2020-11-30T19:51:26.269" v="194"/>
          <ac:spMkLst>
            <pc:docMk/>
            <pc:sldMk cId="2933865477" sldId="281"/>
            <ac:spMk id="44" creationId="{5DE3B1A5-0B25-4473-9AA0-5991D285EC26}"/>
          </ac:spMkLst>
        </pc:spChg>
        <pc:spChg chg="mod">
          <ac:chgData name="Anna-Lena Kose" userId="32f93448-d1e9-4841-8b52-623bcf199870" providerId="ADAL" clId="{09490DFD-FCBC-4271-9BE0-4555CE8D4ADE}" dt="2020-11-30T19:51:26.269" v="194"/>
          <ac:spMkLst>
            <pc:docMk/>
            <pc:sldMk cId="2933865477" sldId="281"/>
            <ac:spMk id="45" creationId="{2B6AB316-4093-4627-B7F5-7F259E4E381F}"/>
          </ac:spMkLst>
        </pc:spChg>
        <pc:spChg chg="mod">
          <ac:chgData name="Anna-Lena Kose" userId="32f93448-d1e9-4841-8b52-623bcf199870" providerId="ADAL" clId="{09490DFD-FCBC-4271-9BE0-4555CE8D4ADE}" dt="2020-11-30T19:51:26.269" v="194"/>
          <ac:spMkLst>
            <pc:docMk/>
            <pc:sldMk cId="2933865477" sldId="281"/>
            <ac:spMk id="46" creationId="{1F56E734-54C6-467A-B3D7-1BFAF9756B88}"/>
          </ac:spMkLst>
        </pc:spChg>
        <pc:spChg chg="mod">
          <ac:chgData name="Anna-Lena Kose" userId="32f93448-d1e9-4841-8b52-623bcf199870" providerId="ADAL" clId="{09490DFD-FCBC-4271-9BE0-4555CE8D4ADE}" dt="2020-11-30T19:51:26.269" v="194"/>
          <ac:spMkLst>
            <pc:docMk/>
            <pc:sldMk cId="2933865477" sldId="281"/>
            <ac:spMk id="47" creationId="{9D454E31-2B64-4578-9399-48A196418D73}"/>
          </ac:spMkLst>
        </pc:spChg>
        <pc:spChg chg="mod">
          <ac:chgData name="Anna-Lena Kose" userId="32f93448-d1e9-4841-8b52-623bcf199870" providerId="ADAL" clId="{09490DFD-FCBC-4271-9BE0-4555CE8D4ADE}" dt="2020-11-30T19:51:26.269" v="194"/>
          <ac:spMkLst>
            <pc:docMk/>
            <pc:sldMk cId="2933865477" sldId="281"/>
            <ac:spMk id="48" creationId="{B7A3FA94-3ADB-4192-B7A0-019947D383C3}"/>
          </ac:spMkLst>
        </pc:spChg>
        <pc:spChg chg="mod">
          <ac:chgData name="Anna-Lena Kose" userId="32f93448-d1e9-4841-8b52-623bcf199870" providerId="ADAL" clId="{09490DFD-FCBC-4271-9BE0-4555CE8D4ADE}" dt="2020-11-30T19:51:26.269" v="194"/>
          <ac:spMkLst>
            <pc:docMk/>
            <pc:sldMk cId="2933865477" sldId="281"/>
            <ac:spMk id="49" creationId="{934D6A76-9D70-4823-B10F-D11A688B17CD}"/>
          </ac:spMkLst>
        </pc:spChg>
        <pc:spChg chg="mod">
          <ac:chgData name="Anna-Lena Kose" userId="32f93448-d1e9-4841-8b52-623bcf199870" providerId="ADAL" clId="{09490DFD-FCBC-4271-9BE0-4555CE8D4ADE}" dt="2020-11-30T19:51:26.269" v="194"/>
          <ac:spMkLst>
            <pc:docMk/>
            <pc:sldMk cId="2933865477" sldId="281"/>
            <ac:spMk id="50" creationId="{466A9489-6639-4BCB-8EBD-0563BB0440D0}"/>
          </ac:spMkLst>
        </pc:spChg>
        <pc:spChg chg="add mod">
          <ac:chgData name="Anna-Lena Kose" userId="32f93448-d1e9-4841-8b52-623bcf199870" providerId="ADAL" clId="{09490DFD-FCBC-4271-9BE0-4555CE8D4ADE}" dt="2020-11-30T19:51:46.554" v="213" actId="1037"/>
          <ac:spMkLst>
            <pc:docMk/>
            <pc:sldMk cId="2933865477" sldId="281"/>
            <ac:spMk id="51" creationId="{7E603CEF-617C-47E0-8BE2-E98B6CDD5197}"/>
          </ac:spMkLst>
        </pc:spChg>
        <pc:spChg chg="add mod">
          <ac:chgData name="Anna-Lena Kose" userId="32f93448-d1e9-4841-8b52-623bcf199870" providerId="ADAL" clId="{09490DFD-FCBC-4271-9BE0-4555CE8D4ADE}" dt="2020-11-30T19:51:46.554" v="213" actId="1037"/>
          <ac:spMkLst>
            <pc:docMk/>
            <pc:sldMk cId="2933865477" sldId="281"/>
            <ac:spMk id="52" creationId="{1432191A-B882-4356-ABD8-97AB4F83028C}"/>
          </ac:spMkLst>
        </pc:spChg>
        <pc:spChg chg="add mod">
          <ac:chgData name="Anna-Lena Kose" userId="32f93448-d1e9-4841-8b52-623bcf199870" providerId="ADAL" clId="{09490DFD-FCBC-4271-9BE0-4555CE8D4ADE}" dt="2020-11-30T19:51:46.554" v="213" actId="1037"/>
          <ac:spMkLst>
            <pc:docMk/>
            <pc:sldMk cId="2933865477" sldId="281"/>
            <ac:spMk id="53" creationId="{DD2D11AC-D43F-40CD-BD2D-597A6F758874}"/>
          </ac:spMkLst>
        </pc:spChg>
        <pc:spChg chg="add mod">
          <ac:chgData name="Anna-Lena Kose" userId="32f93448-d1e9-4841-8b52-623bcf199870" providerId="ADAL" clId="{09490DFD-FCBC-4271-9BE0-4555CE8D4ADE}" dt="2020-11-30T19:51:46.554" v="213" actId="1037"/>
          <ac:spMkLst>
            <pc:docMk/>
            <pc:sldMk cId="2933865477" sldId="281"/>
            <ac:spMk id="54" creationId="{AA106852-4E12-474F-AEBE-30060174BAF1}"/>
          </ac:spMkLst>
        </pc:spChg>
        <pc:spChg chg="add mod">
          <ac:chgData name="Anna-Lena Kose" userId="32f93448-d1e9-4841-8b52-623bcf199870" providerId="ADAL" clId="{09490DFD-FCBC-4271-9BE0-4555CE8D4ADE}" dt="2020-11-30T19:51:46.554" v="213" actId="1037"/>
          <ac:spMkLst>
            <pc:docMk/>
            <pc:sldMk cId="2933865477" sldId="281"/>
            <ac:spMk id="55" creationId="{F1AC148A-7BF2-4253-9902-6FA63CAACAFF}"/>
          </ac:spMkLst>
        </pc:spChg>
        <pc:spChg chg="add mod">
          <ac:chgData name="Anna-Lena Kose" userId="32f93448-d1e9-4841-8b52-623bcf199870" providerId="ADAL" clId="{09490DFD-FCBC-4271-9BE0-4555CE8D4ADE}" dt="2020-11-30T19:53:41.516" v="280" actId="20577"/>
          <ac:spMkLst>
            <pc:docMk/>
            <pc:sldMk cId="2933865477" sldId="281"/>
            <ac:spMk id="56" creationId="{C577E4D3-8541-486D-85C2-F21D332803BB}"/>
          </ac:spMkLst>
        </pc:spChg>
        <pc:grpChg chg="del">
          <ac:chgData name="Anna-Lena Kose" userId="32f93448-d1e9-4841-8b52-623bcf199870" providerId="ADAL" clId="{09490DFD-FCBC-4271-9BE0-4555CE8D4ADE}" dt="2020-11-30T19:51:05.507" v="193" actId="478"/>
          <ac:grpSpMkLst>
            <pc:docMk/>
            <pc:sldMk cId="2933865477" sldId="281"/>
            <ac:grpSpMk id="8" creationId="{013A7ED3-A463-4B03-8854-F40603C4CE80}"/>
          </ac:grpSpMkLst>
        </pc:grpChg>
        <pc:grpChg chg="add mod">
          <ac:chgData name="Anna-Lena Kose" userId="32f93448-d1e9-4841-8b52-623bcf199870" providerId="ADAL" clId="{09490DFD-FCBC-4271-9BE0-4555CE8D4ADE}" dt="2020-11-30T19:51:46.554" v="213" actId="1037"/>
          <ac:grpSpMkLst>
            <pc:docMk/>
            <pc:sldMk cId="2933865477" sldId="281"/>
            <ac:grpSpMk id="32" creationId="{1AD4FA01-4B98-4806-ACCE-65F9E7299002}"/>
          </ac:grpSpMkLst>
        </pc:grpChg>
        <pc:grpChg chg="mod">
          <ac:chgData name="Anna-Lena Kose" userId="32f93448-d1e9-4841-8b52-623bcf199870" providerId="ADAL" clId="{09490DFD-FCBC-4271-9BE0-4555CE8D4ADE}" dt="2020-11-30T19:51:26.269" v="194"/>
          <ac:grpSpMkLst>
            <pc:docMk/>
            <pc:sldMk cId="2933865477" sldId="281"/>
            <ac:grpSpMk id="33" creationId="{798C3688-74EE-4E0F-A4AB-3903F6DCAE9A}"/>
          </ac:grpSpMkLst>
        </pc:grpChg>
        <pc:grpChg chg="mod">
          <ac:chgData name="Anna-Lena Kose" userId="32f93448-d1e9-4841-8b52-623bcf199870" providerId="ADAL" clId="{09490DFD-FCBC-4271-9BE0-4555CE8D4ADE}" dt="2020-11-30T19:51:26.269" v="194"/>
          <ac:grpSpMkLst>
            <pc:docMk/>
            <pc:sldMk cId="2933865477" sldId="281"/>
            <ac:grpSpMk id="36" creationId="{DDED1FA6-BB43-46A9-8F2B-CAC87F94AADF}"/>
          </ac:grpSpMkLst>
        </pc:grpChg>
        <pc:grpChg chg="mod">
          <ac:chgData name="Anna-Lena Kose" userId="32f93448-d1e9-4841-8b52-623bcf199870" providerId="ADAL" clId="{09490DFD-FCBC-4271-9BE0-4555CE8D4ADE}" dt="2020-11-30T19:51:26.269" v="194"/>
          <ac:grpSpMkLst>
            <pc:docMk/>
            <pc:sldMk cId="2933865477" sldId="281"/>
            <ac:grpSpMk id="39" creationId="{75FACB33-E241-4D87-AF68-EF0CE443361C}"/>
          </ac:grpSpMkLst>
        </pc:grpChg>
        <pc:grpChg chg="mod">
          <ac:chgData name="Anna-Lena Kose" userId="32f93448-d1e9-4841-8b52-623bcf199870" providerId="ADAL" clId="{09490DFD-FCBC-4271-9BE0-4555CE8D4ADE}" dt="2020-11-30T19:51:26.269" v="194"/>
          <ac:grpSpMkLst>
            <pc:docMk/>
            <pc:sldMk cId="2933865477" sldId="281"/>
            <ac:grpSpMk id="40" creationId="{15FD6810-8C20-4F97-BD17-8922CB39B89D}"/>
          </ac:grpSpMkLst>
        </pc:grpChg>
        <pc:grpChg chg="mod">
          <ac:chgData name="Anna-Lena Kose" userId="32f93448-d1e9-4841-8b52-623bcf199870" providerId="ADAL" clId="{09490DFD-FCBC-4271-9BE0-4555CE8D4ADE}" dt="2020-11-30T19:51:26.269" v="194"/>
          <ac:grpSpMkLst>
            <pc:docMk/>
            <pc:sldMk cId="2933865477" sldId="281"/>
            <ac:grpSpMk id="41" creationId="{A6C3FACF-3272-4A8D-9EF3-1B23163BEB43}"/>
          </ac:grpSpMkLst>
        </pc:grpChg>
        <pc:grpChg chg="mod">
          <ac:chgData name="Anna-Lena Kose" userId="32f93448-d1e9-4841-8b52-623bcf199870" providerId="ADAL" clId="{09490DFD-FCBC-4271-9BE0-4555CE8D4ADE}" dt="2020-11-30T19:51:26.269" v="194"/>
          <ac:grpSpMkLst>
            <pc:docMk/>
            <pc:sldMk cId="2933865477" sldId="281"/>
            <ac:grpSpMk id="42" creationId="{3A163C8D-2C37-4DE7-9467-A316D75E495F}"/>
          </ac:grpSpMkLst>
        </pc:grpChg>
        <pc:picChg chg="del">
          <ac:chgData name="Anna-Lena Kose" userId="32f93448-d1e9-4841-8b52-623bcf199870" providerId="ADAL" clId="{09490DFD-FCBC-4271-9BE0-4555CE8D4ADE}" dt="2020-11-30T19:50:53.286" v="188" actId="478"/>
          <ac:picMkLst>
            <pc:docMk/>
            <pc:sldMk cId="2933865477" sldId="281"/>
            <ac:picMk id="31" creationId="{D9465DCC-40D9-4DA3-9941-8D6D47EB103A}"/>
          </ac:picMkLst>
        </pc:picChg>
      </pc:sldChg>
      <pc:sldChg chg="addSp delSp modSp add mod">
        <pc:chgData name="Anna-Lena Kose" userId="32f93448-d1e9-4841-8b52-623bcf199870" providerId="ADAL" clId="{09490DFD-FCBC-4271-9BE0-4555CE8D4ADE}" dt="2020-11-30T20:15:46.485" v="629" actId="20577"/>
        <pc:sldMkLst>
          <pc:docMk/>
          <pc:sldMk cId="1111243999" sldId="282"/>
        </pc:sldMkLst>
        <pc:spChg chg="mod">
          <ac:chgData name="Anna-Lena Kose" userId="32f93448-d1e9-4841-8b52-623bcf199870" providerId="ADAL" clId="{09490DFD-FCBC-4271-9BE0-4555CE8D4ADE}" dt="2020-11-30T19:55:30.459" v="309" actId="255"/>
          <ac:spMkLst>
            <pc:docMk/>
            <pc:sldMk cId="1111243999" sldId="282"/>
            <ac:spMk id="2" creationId="{7AD66A53-AF7B-41C2-B962-456F6D4EFEC9}"/>
          </ac:spMkLst>
        </pc:spChg>
        <pc:spChg chg="mod">
          <ac:chgData name="Anna-Lena Kose" userId="32f93448-d1e9-4841-8b52-623bcf199870" providerId="ADAL" clId="{09490DFD-FCBC-4271-9BE0-4555CE8D4ADE}" dt="2020-11-30T19:55:30.459" v="309" actId="255"/>
          <ac:spMkLst>
            <pc:docMk/>
            <pc:sldMk cId="1111243999" sldId="282"/>
            <ac:spMk id="3" creationId="{0EA405F5-9D7E-437C-9C68-C4B57E856237}"/>
          </ac:spMkLst>
        </pc:spChg>
        <pc:spChg chg="del">
          <ac:chgData name="Anna-Lena Kose" userId="32f93448-d1e9-4841-8b52-623bcf199870" providerId="ADAL" clId="{09490DFD-FCBC-4271-9BE0-4555CE8D4ADE}" dt="2020-11-30T19:54:21.156" v="296" actId="478"/>
          <ac:spMkLst>
            <pc:docMk/>
            <pc:sldMk cId="1111243999" sldId="282"/>
            <ac:spMk id="7" creationId="{795D8028-B6C9-4A29-9E55-C022E69A55B6}"/>
          </ac:spMkLst>
        </pc:spChg>
        <pc:spChg chg="add mod">
          <ac:chgData name="Anna-Lena Kose" userId="32f93448-d1e9-4841-8b52-623bcf199870" providerId="ADAL" clId="{09490DFD-FCBC-4271-9BE0-4555CE8D4ADE}" dt="2020-11-30T19:58:08.888" v="370" actId="122"/>
          <ac:spMkLst>
            <pc:docMk/>
            <pc:sldMk cId="1111243999" sldId="282"/>
            <ac:spMk id="30" creationId="{2F576BA5-D7E0-4AC5-8380-8C2A6524C9BF}"/>
          </ac:spMkLst>
        </pc:spChg>
        <pc:spChg chg="del">
          <ac:chgData name="Anna-Lena Kose" userId="32f93448-d1e9-4841-8b52-623bcf199870" providerId="ADAL" clId="{09490DFD-FCBC-4271-9BE0-4555CE8D4ADE}" dt="2020-11-30T19:54:35.073" v="302" actId="478"/>
          <ac:spMkLst>
            <pc:docMk/>
            <pc:sldMk cId="1111243999" sldId="282"/>
            <ac:spMk id="51" creationId="{7E603CEF-617C-47E0-8BE2-E98B6CDD5197}"/>
          </ac:spMkLst>
        </pc:spChg>
        <pc:spChg chg="del">
          <ac:chgData name="Anna-Lena Kose" userId="32f93448-d1e9-4841-8b52-623bcf199870" providerId="ADAL" clId="{09490DFD-FCBC-4271-9BE0-4555CE8D4ADE}" dt="2020-11-30T19:54:25.181" v="297" actId="478"/>
          <ac:spMkLst>
            <pc:docMk/>
            <pc:sldMk cId="1111243999" sldId="282"/>
            <ac:spMk id="52" creationId="{1432191A-B882-4356-ABD8-97AB4F83028C}"/>
          </ac:spMkLst>
        </pc:spChg>
        <pc:spChg chg="del">
          <ac:chgData name="Anna-Lena Kose" userId="32f93448-d1e9-4841-8b52-623bcf199870" providerId="ADAL" clId="{09490DFD-FCBC-4271-9BE0-4555CE8D4ADE}" dt="2020-11-30T19:54:26.954" v="298" actId="478"/>
          <ac:spMkLst>
            <pc:docMk/>
            <pc:sldMk cId="1111243999" sldId="282"/>
            <ac:spMk id="53" creationId="{DD2D11AC-D43F-40CD-BD2D-597A6F758874}"/>
          </ac:spMkLst>
        </pc:spChg>
        <pc:spChg chg="del">
          <ac:chgData name="Anna-Lena Kose" userId="32f93448-d1e9-4841-8b52-623bcf199870" providerId="ADAL" clId="{09490DFD-FCBC-4271-9BE0-4555CE8D4ADE}" dt="2020-11-30T19:54:28.629" v="299" actId="478"/>
          <ac:spMkLst>
            <pc:docMk/>
            <pc:sldMk cId="1111243999" sldId="282"/>
            <ac:spMk id="54" creationId="{AA106852-4E12-474F-AEBE-30060174BAF1}"/>
          </ac:spMkLst>
        </pc:spChg>
        <pc:spChg chg="del">
          <ac:chgData name="Anna-Lena Kose" userId="32f93448-d1e9-4841-8b52-623bcf199870" providerId="ADAL" clId="{09490DFD-FCBC-4271-9BE0-4555CE8D4ADE}" dt="2020-11-30T19:54:33.870" v="301" actId="478"/>
          <ac:spMkLst>
            <pc:docMk/>
            <pc:sldMk cId="1111243999" sldId="282"/>
            <ac:spMk id="55" creationId="{F1AC148A-7BF2-4253-9902-6FA63CAACAFF}"/>
          </ac:spMkLst>
        </pc:spChg>
        <pc:spChg chg="mod">
          <ac:chgData name="Anna-Lena Kose" userId="32f93448-d1e9-4841-8b52-623bcf199870" providerId="ADAL" clId="{09490DFD-FCBC-4271-9BE0-4555CE8D4ADE}" dt="2020-11-30T20:15:46.485" v="629" actId="20577"/>
          <ac:spMkLst>
            <pc:docMk/>
            <pc:sldMk cId="1111243999" sldId="282"/>
            <ac:spMk id="56" creationId="{C577E4D3-8541-486D-85C2-F21D332803BB}"/>
          </ac:spMkLst>
        </pc:spChg>
        <pc:grpChg chg="del">
          <ac:chgData name="Anna-Lena Kose" userId="32f93448-d1e9-4841-8b52-623bcf199870" providerId="ADAL" clId="{09490DFD-FCBC-4271-9BE0-4555CE8D4ADE}" dt="2020-11-30T19:54:29.444" v="300" actId="478"/>
          <ac:grpSpMkLst>
            <pc:docMk/>
            <pc:sldMk cId="1111243999" sldId="282"/>
            <ac:grpSpMk id="32" creationId="{1AD4FA01-4B98-4806-ACCE-65F9E7299002}"/>
          </ac:grpSpMkLst>
        </pc:grpChg>
        <pc:graphicFrameChg chg="add mod modGraphic">
          <ac:chgData name="Anna-Lena Kose" userId="32f93448-d1e9-4841-8b52-623bcf199870" providerId="ADAL" clId="{09490DFD-FCBC-4271-9BE0-4555CE8D4ADE}" dt="2020-11-30T19:57:11.594" v="361" actId="1036"/>
          <ac:graphicFrameMkLst>
            <pc:docMk/>
            <pc:sldMk cId="1111243999" sldId="282"/>
            <ac:graphicFrameMk id="31" creationId="{46DFB18D-BD07-4BEA-91CA-07717CAC03D6}"/>
          </ac:graphicFrameMkLst>
        </pc:graphicFrameChg>
      </pc:sldChg>
      <pc:sldChg chg="new del">
        <pc:chgData name="Anna-Lena Kose" userId="32f93448-d1e9-4841-8b52-623bcf199870" providerId="ADAL" clId="{09490DFD-FCBC-4271-9BE0-4555CE8D4ADE}" dt="2020-11-30T19:53:54.692" v="282" actId="47"/>
        <pc:sldMkLst>
          <pc:docMk/>
          <pc:sldMk cId="1649407552" sldId="282"/>
        </pc:sldMkLst>
      </pc:sldChg>
      <pc:sldChg chg="modSp add del mod">
        <pc:chgData name="Anna-Lena Kose" userId="32f93448-d1e9-4841-8b52-623bcf199870" providerId="ADAL" clId="{09490DFD-FCBC-4271-9BE0-4555CE8D4ADE}" dt="2020-11-30T20:02:08.637" v="389" actId="47"/>
        <pc:sldMkLst>
          <pc:docMk/>
          <pc:sldMk cId="3627278778" sldId="283"/>
        </pc:sldMkLst>
        <pc:graphicFrameChg chg="mod modGraphic">
          <ac:chgData name="Anna-Lena Kose" userId="32f93448-d1e9-4841-8b52-623bcf199870" providerId="ADAL" clId="{09490DFD-FCBC-4271-9BE0-4555CE8D4ADE}" dt="2020-11-30T20:01:36.213" v="383"/>
          <ac:graphicFrameMkLst>
            <pc:docMk/>
            <pc:sldMk cId="3627278778" sldId="283"/>
            <ac:graphicFrameMk id="31" creationId="{46DFB18D-BD07-4BEA-91CA-07717CAC03D6}"/>
          </ac:graphicFrameMkLst>
        </pc:graphicFrameChg>
      </pc:sldChg>
      <pc:sldChg chg="modSp add mod">
        <pc:chgData name="Anna-Lena Kose" userId="32f93448-d1e9-4841-8b52-623bcf199870" providerId="ADAL" clId="{09490DFD-FCBC-4271-9BE0-4555CE8D4ADE}" dt="2020-11-30T20:15:54.899" v="645" actId="20577"/>
        <pc:sldMkLst>
          <pc:docMk/>
          <pc:sldMk cId="4127595125" sldId="284"/>
        </pc:sldMkLst>
        <pc:spChg chg="mod">
          <ac:chgData name="Anna-Lena Kose" userId="32f93448-d1e9-4841-8b52-623bcf199870" providerId="ADAL" clId="{09490DFD-FCBC-4271-9BE0-4555CE8D4ADE}" dt="2020-11-30T20:13:25.437" v="576"/>
          <ac:spMkLst>
            <pc:docMk/>
            <pc:sldMk cId="4127595125" sldId="284"/>
            <ac:spMk id="30" creationId="{2F576BA5-D7E0-4AC5-8380-8C2A6524C9BF}"/>
          </ac:spMkLst>
        </pc:spChg>
        <pc:spChg chg="mod">
          <ac:chgData name="Anna-Lena Kose" userId="32f93448-d1e9-4841-8b52-623bcf199870" providerId="ADAL" clId="{09490DFD-FCBC-4271-9BE0-4555CE8D4ADE}" dt="2020-11-30T20:15:54.899" v="645" actId="20577"/>
          <ac:spMkLst>
            <pc:docMk/>
            <pc:sldMk cId="4127595125" sldId="284"/>
            <ac:spMk id="56" creationId="{C577E4D3-8541-486D-85C2-F21D332803BB}"/>
          </ac:spMkLst>
        </pc:spChg>
        <pc:graphicFrameChg chg="mod modGraphic">
          <ac:chgData name="Anna-Lena Kose" userId="32f93448-d1e9-4841-8b52-623bcf199870" providerId="ADAL" clId="{09490DFD-FCBC-4271-9BE0-4555CE8D4ADE}" dt="2020-11-30T20:12:47.874" v="559" actId="20577"/>
          <ac:graphicFrameMkLst>
            <pc:docMk/>
            <pc:sldMk cId="4127595125" sldId="284"/>
            <ac:graphicFrameMk id="31" creationId="{46DFB18D-BD07-4BEA-91CA-07717CAC03D6}"/>
          </ac:graphicFrameMkLst>
        </pc:graphicFrameChg>
      </pc:sldChg>
      <pc:sldChg chg="new del">
        <pc:chgData name="Anna-Lena Kose" userId="32f93448-d1e9-4841-8b52-623bcf199870" providerId="ADAL" clId="{09490DFD-FCBC-4271-9BE0-4555CE8D4ADE}" dt="2020-11-30T20:02:08.152" v="388" actId="47"/>
        <pc:sldMkLst>
          <pc:docMk/>
          <pc:sldMk cId="3632728714" sldId="285"/>
        </pc:sldMkLst>
      </pc:sldChg>
      <pc:sldChg chg="new del">
        <pc:chgData name="Anna-Lena Kose" userId="32f93448-d1e9-4841-8b52-623bcf199870" providerId="ADAL" clId="{09490DFD-FCBC-4271-9BE0-4555CE8D4ADE}" dt="2020-11-30T20:02:06.965" v="387" actId="47"/>
        <pc:sldMkLst>
          <pc:docMk/>
          <pc:sldMk cId="3216117346" sldId="28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3829D6-B62E-41F5-B944-4575583B3587}" type="datetimeFigureOut">
              <a:rPr lang="de-DE" smtClean="0"/>
              <a:t>30.1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30E7E1-5400-492B-B5F6-23476130DB9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30168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30E7E1-5400-492B-B5F6-23476130DB9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00832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993" y="3942918"/>
            <a:ext cx="6858000" cy="980976"/>
          </a:xfrm>
        </p:spPr>
        <p:txBody>
          <a:bodyPr anchor="t" anchorCtr="0"/>
          <a:lstStyle>
            <a:lvl1pPr algn="l">
              <a:lnSpc>
                <a:spcPts val="3600"/>
              </a:lnSpc>
              <a:defRPr sz="3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1993" y="3671941"/>
            <a:ext cx="6858000" cy="241598"/>
          </a:xfrm>
        </p:spPr>
        <p:txBody>
          <a:bodyPr anchor="t" anchorCtr="0"/>
          <a:lstStyle>
            <a:lvl1pPr marL="0" indent="0" algn="l">
              <a:lnSpc>
                <a:spcPts val="1600"/>
              </a:lnSpc>
              <a:buNone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44" name="Textfeld 43"/>
          <p:cNvSpPr txBox="1"/>
          <p:nvPr userDrawn="1"/>
        </p:nvSpPr>
        <p:spPr>
          <a:xfrm>
            <a:off x="431993" y="215997"/>
            <a:ext cx="1640916" cy="25648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1000"/>
              </a:lnSpc>
            </a:pPr>
            <a:r>
              <a:rPr lang="de-DE" sz="850" b="1" dirty="0"/>
              <a:t>Deutsches Rotes Kreuz e.V.</a:t>
            </a:r>
          </a:p>
          <a:p>
            <a:pPr>
              <a:lnSpc>
                <a:spcPts val="1000"/>
              </a:lnSpc>
            </a:pPr>
            <a:r>
              <a:rPr lang="de-DE" sz="850" dirty="0"/>
              <a:t>Kompetenzzentren Digitalisierung</a:t>
            </a:r>
          </a:p>
        </p:txBody>
      </p:sp>
      <p:pic>
        <p:nvPicPr>
          <p:cNvPr id="45" name="Grafik 4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7909" y="215997"/>
            <a:ext cx="1363951" cy="432000"/>
          </a:xfrm>
          <a:prstGeom prst="rect">
            <a:avLst/>
          </a:prstGeom>
        </p:spPr>
      </p:pic>
      <p:sp>
        <p:nvSpPr>
          <p:cNvPr id="86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31993" y="863986"/>
            <a:ext cx="8280000" cy="2592000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87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8409567" y="863986"/>
            <a:ext cx="194295" cy="2484000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  <p:pic>
        <p:nvPicPr>
          <p:cNvPr id="8" name="Picture 4" descr="http://gefas-ev.de/wp-content/uploads/2018/01/bmfsfj-logo.png">
            <a:extLst>
              <a:ext uri="{FF2B5EF4-FFF2-40B4-BE49-F238E27FC236}">
                <a16:creationId xmlns:a16="http://schemas.microsoft.com/office/drawing/2014/main" id="{C37E116B-A5AD-904B-9503-9143D9EDB02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92" t="7810" r="10052" b="6688"/>
          <a:stretch/>
        </p:blipFill>
        <p:spPr bwMode="auto">
          <a:xfrm>
            <a:off x="6203141" y="215997"/>
            <a:ext cx="850407" cy="432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61338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schmal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992" y="719988"/>
            <a:ext cx="8280000" cy="58931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8400" y="1394938"/>
            <a:ext cx="2613600" cy="316675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32000" y="1394938"/>
            <a:ext cx="5446800" cy="3141050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5576400" y="1394938"/>
            <a:ext cx="194471" cy="3033049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</p:spTree>
    <p:extLst>
      <p:ext uri="{BB962C8B-B14F-4D97-AF65-F5344CB8AC3E}">
        <p14:creationId xmlns:p14="http://schemas.microsoft.com/office/powerpoint/2010/main" val="28775012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992" y="719988"/>
            <a:ext cx="8280000" cy="58931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992" y="1394938"/>
            <a:ext cx="2617200" cy="316675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265200" y="1394938"/>
            <a:ext cx="2617200" cy="316675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098400" y="1394938"/>
            <a:ext cx="2617200" cy="316675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129524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32000" y="719988"/>
            <a:ext cx="8279992" cy="381775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8409600" y="719988"/>
            <a:ext cx="194471" cy="3711600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</p:spTree>
    <p:extLst>
      <p:ext uri="{BB962C8B-B14F-4D97-AF65-F5344CB8AC3E}">
        <p14:creationId xmlns:p14="http://schemas.microsoft.com/office/powerpoint/2010/main" val="22053740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31993" y="1394938"/>
            <a:ext cx="8280000" cy="31428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8409567" y="1394938"/>
            <a:ext cx="194295" cy="3033050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992" y="719988"/>
            <a:ext cx="8280001" cy="58931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11852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2-zeilig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31993" y="1756800"/>
            <a:ext cx="8280000" cy="27828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8409567" y="1756800"/>
            <a:ext cx="194295" cy="2674800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992" y="719988"/>
            <a:ext cx="8280001" cy="9504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22689343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1970" y="1799971"/>
            <a:ext cx="5425154" cy="1113162"/>
          </a:xfrm>
        </p:spPr>
        <p:txBody>
          <a:bodyPr/>
          <a:lstStyle>
            <a:lvl1pPr>
              <a:lnSpc>
                <a:spcPts val="3600"/>
              </a:lnSpc>
              <a:defRPr sz="3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1970" y="3069265"/>
            <a:ext cx="2617200" cy="1462342"/>
          </a:xfrm>
        </p:spPr>
        <p:txBody>
          <a:bodyPr anchor="b" anchorCtr="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4679924" y="3069265"/>
            <a:ext cx="2617200" cy="1462342"/>
          </a:xfrm>
        </p:spPr>
        <p:txBody>
          <a:bodyPr anchor="b" anchorCtr="0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431993" y="215997"/>
            <a:ext cx="1640916" cy="25648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1000"/>
              </a:lnSpc>
            </a:pPr>
            <a:r>
              <a:rPr lang="de-DE" sz="850" b="1" dirty="0"/>
              <a:t>Deutsches Rotes Kreuz e.V.</a:t>
            </a:r>
          </a:p>
          <a:p>
            <a:pPr>
              <a:lnSpc>
                <a:spcPts val="1000"/>
              </a:lnSpc>
            </a:pPr>
            <a:r>
              <a:rPr lang="de-DE" sz="850" dirty="0"/>
              <a:t>Kompetenzzentren Digitalisierung</a:t>
            </a:r>
          </a:p>
        </p:txBody>
      </p: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7909" y="215997"/>
            <a:ext cx="1363951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763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993" y="3942000"/>
            <a:ext cx="6858000" cy="579281"/>
          </a:xfrm>
        </p:spPr>
        <p:txBody>
          <a:bodyPr anchor="t" anchorCtr="0"/>
          <a:lstStyle>
            <a:lvl1pPr algn="l">
              <a:lnSpc>
                <a:spcPts val="3000"/>
              </a:lnSpc>
              <a:defRPr sz="25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1993" y="3672000"/>
            <a:ext cx="6858000" cy="241598"/>
          </a:xfrm>
        </p:spPr>
        <p:txBody>
          <a:bodyPr anchor="t" anchorCtr="0"/>
          <a:lstStyle>
            <a:lvl1pPr marL="0" indent="0" algn="l">
              <a:lnSpc>
                <a:spcPts val="1600"/>
              </a:lnSpc>
              <a:buNone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sp>
        <p:nvSpPr>
          <p:cNvPr id="86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31993" y="719988"/>
            <a:ext cx="8280000" cy="2736000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87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8409567" y="719988"/>
            <a:ext cx="194295" cy="2628000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Titel der Präsentation</a:t>
            </a:r>
            <a:endParaRPr lang="de-DE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5707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2291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Aufzähl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3pPr>
              <a:defRPr/>
            </a:lvl3pPr>
            <a:lvl4pPr marL="216000" indent="-216000">
              <a:buNone/>
              <a:defRPr/>
            </a:lvl4pPr>
            <a:lvl5pPr marL="576000" indent="-360000">
              <a:buNone/>
              <a:defRPr/>
            </a:lvl5pPr>
            <a:lvl6pPr marL="1080000" indent="-504000">
              <a:buNone/>
              <a:defRPr/>
            </a:lvl6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61740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links mit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992" y="719988"/>
            <a:ext cx="8280000" cy="58931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993" y="1394938"/>
            <a:ext cx="4031935" cy="316675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679924" y="1394938"/>
            <a:ext cx="4032000" cy="31410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8408893" y="1394938"/>
            <a:ext cx="194471" cy="3033049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</p:spTree>
    <p:extLst>
      <p:ext uri="{BB962C8B-B14F-4D97-AF65-F5344CB8AC3E}">
        <p14:creationId xmlns:p14="http://schemas.microsoft.com/office/powerpoint/2010/main" val="4145556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links mit Inhal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992" y="719988"/>
            <a:ext cx="8280000" cy="58931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0000" y="1394938"/>
            <a:ext cx="4031935" cy="316675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32000" y="1394938"/>
            <a:ext cx="4032000" cy="3141050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4161600" y="1394938"/>
            <a:ext cx="194471" cy="3033049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</p:spTree>
    <p:extLst>
      <p:ext uri="{BB962C8B-B14F-4D97-AF65-F5344CB8AC3E}">
        <p14:creationId xmlns:p14="http://schemas.microsoft.com/office/powerpoint/2010/main" val="2102673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Inhalte mit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992" y="719988"/>
            <a:ext cx="8280000" cy="58931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3" y="2419696"/>
            <a:ext cx="4031935" cy="214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679924" y="2419696"/>
            <a:ext cx="4032000" cy="214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8408893" y="2419696"/>
            <a:ext cx="194471" cy="2034000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31992" y="1394938"/>
            <a:ext cx="8279931" cy="8964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061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Inhalte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992" y="719988"/>
            <a:ext cx="8280000" cy="58931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80000" y="2419696"/>
            <a:ext cx="4031935" cy="214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432000" y="2419696"/>
            <a:ext cx="4032000" cy="2142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4161600" y="2419696"/>
            <a:ext cx="194471" cy="2034000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31992" y="1394938"/>
            <a:ext cx="8279931" cy="8964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19041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schmal mit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992" y="719988"/>
            <a:ext cx="8280000" cy="58931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992" y="1394938"/>
            <a:ext cx="2613600" cy="316675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3265200" y="1394938"/>
            <a:ext cx="5446800" cy="31410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 hasCustomPrompt="1"/>
          </p:nvPr>
        </p:nvSpPr>
        <p:spPr>
          <a:xfrm>
            <a:off x="8409600" y="1394938"/>
            <a:ext cx="194471" cy="3033049"/>
          </a:xfrm>
        </p:spPr>
        <p:txBody>
          <a:bodyPr vert="vert270" anchor="b" anchorCtr="0"/>
          <a:lstStyle>
            <a:lvl1pPr>
              <a:lnSpc>
                <a:spcPts val="900"/>
              </a:lnSpc>
              <a:defRPr sz="7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@ Bildnachweis</a:t>
            </a:r>
          </a:p>
        </p:txBody>
      </p:sp>
    </p:spTree>
    <p:extLst>
      <p:ext uri="{BB962C8B-B14F-4D97-AF65-F5344CB8AC3E}">
        <p14:creationId xmlns:p14="http://schemas.microsoft.com/office/powerpoint/2010/main" val="28348345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992" y="719988"/>
            <a:ext cx="7370565" cy="5893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992" y="1394938"/>
            <a:ext cx="7370565" cy="31593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1993" y="4737278"/>
            <a:ext cx="8280000" cy="8232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lnSpc>
                <a:spcPts val="900"/>
              </a:lnSpc>
              <a:defRPr sz="7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 der Präsentation </a:t>
            </a:r>
            <a:r>
              <a:rPr lang="de-DE" dirty="0" err="1"/>
              <a:t>asdasd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7275" y="4845309"/>
            <a:ext cx="20574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700">
                <a:solidFill>
                  <a:schemeClr val="tx1"/>
                </a:solidFill>
              </a:defRPr>
            </a:lvl1pPr>
          </a:lstStyle>
          <a:p>
            <a:fld id="{EADB90F9-9C8B-4738-A50E-8F04301A8C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7" name="Textfeld 46"/>
          <p:cNvSpPr txBox="1"/>
          <p:nvPr userDrawn="1"/>
        </p:nvSpPr>
        <p:spPr>
          <a:xfrm>
            <a:off x="431993" y="4837893"/>
            <a:ext cx="275129" cy="11541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ts val="900"/>
              </a:lnSpc>
            </a:pPr>
            <a:r>
              <a:rPr lang="de-DE" sz="700" dirty="0"/>
              <a:t>Folie</a:t>
            </a:r>
          </a:p>
        </p:txBody>
      </p:sp>
      <p:sp>
        <p:nvSpPr>
          <p:cNvPr id="48" name="Textfeld 47"/>
          <p:cNvSpPr txBox="1"/>
          <p:nvPr userDrawn="1"/>
        </p:nvSpPr>
        <p:spPr>
          <a:xfrm>
            <a:off x="431993" y="215997"/>
            <a:ext cx="1640916" cy="23083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900"/>
              </a:lnSpc>
            </a:pPr>
            <a:r>
              <a:rPr lang="de-DE" sz="700" b="1" dirty="0"/>
              <a:t>Deutsches Rotes Kreuz e.V.</a:t>
            </a:r>
          </a:p>
          <a:p>
            <a:pPr>
              <a:lnSpc>
                <a:spcPts val="900"/>
              </a:lnSpc>
            </a:pPr>
            <a:r>
              <a:rPr lang="de-DE" sz="700" dirty="0"/>
              <a:t>Kompetenzzentren Digitalisierung</a:t>
            </a:r>
          </a:p>
        </p:txBody>
      </p:sp>
      <p:pic>
        <p:nvPicPr>
          <p:cNvPr id="49" name="Grafik 48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2557" y="215997"/>
            <a:ext cx="909303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657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6" r:id="rId2"/>
    <p:sldLayoutId id="2147483662" r:id="rId3"/>
    <p:sldLayoutId id="2147483672" r:id="rId4"/>
    <p:sldLayoutId id="2147483674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75" r:id="rId13"/>
    <p:sldLayoutId id="2147483684" r:id="rId14"/>
    <p:sldLayoutId id="2147483685" r:id="rId15"/>
  </p:sldLayoutIdLst>
  <p:hf hdr="0" dt="0"/>
  <p:txStyles>
    <p:titleStyle>
      <a:lvl1pPr algn="l" defTabSz="685800" rtl="0" eaLnBrk="1" latinLnBrk="0" hangingPunct="1">
        <a:lnSpc>
          <a:spcPts val="2400"/>
        </a:lnSpc>
        <a:spcBef>
          <a:spcPct val="0"/>
        </a:spcBef>
        <a:buNone/>
        <a:defRPr sz="2000" b="1" i="0" kern="1200">
          <a:solidFill>
            <a:schemeClr val="tx2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800"/>
        </a:lnSpc>
        <a:spcBef>
          <a:spcPts val="0"/>
        </a:spcBef>
        <a:buFont typeface="Arial" panose="020B0604020202020204" pitchFamily="34" charset="0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ts val="1800"/>
        </a:lnSpc>
        <a:spcBef>
          <a:spcPts val="180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685800" rtl="0" eaLnBrk="1" latinLnBrk="0" hangingPunct="1">
        <a:lnSpc>
          <a:spcPts val="18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00" indent="-144000" algn="l" defTabSz="685800" rtl="0" eaLnBrk="1" latinLnBrk="0" hangingPunct="1">
        <a:lnSpc>
          <a:spcPts val="18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00" indent="-144000" algn="l" defTabSz="685800" rtl="0" eaLnBrk="1" latinLnBrk="0" hangingPunct="1">
        <a:lnSpc>
          <a:spcPts val="18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432000" indent="-144000" algn="l" defTabSz="685800" rtl="0" eaLnBrk="1" latinLnBrk="0" hangingPunct="1">
        <a:lnSpc>
          <a:spcPts val="1800"/>
        </a:lnSpc>
        <a:spcBef>
          <a:spcPts val="0"/>
        </a:spcBef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4.pn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OKR-Methode</a:t>
            </a:r>
          </a:p>
        </p:txBody>
      </p:sp>
      <p:sp>
        <p:nvSpPr>
          <p:cNvPr id="9" name="Untertitel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Phase 04-07: Strategische Ziele-Evaluation &amp; Anpassung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F3EA1F3-2570-8047-BF19-C340D6FEE1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94" y="873714"/>
            <a:ext cx="8280000" cy="2591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586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AD66A53-AF7B-41C2-B962-456F6D4EFE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ase 04-07: Strategische Ziele-Evaluation &amp; Anpass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EA405F5-9D7E-437C-9C68-C4B57E856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2</a:t>
            </a:fld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CC7E5CA-E10F-4C69-8CC2-58D77C6B35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>
                <a:solidFill>
                  <a:schemeClr val="bg1">
                    <a:lumMod val="75000"/>
                  </a:schemeClr>
                </a:solidFill>
              </a:rPr>
              <a:t>© Nach Nordlicht Management Consultants 2018 </a:t>
            </a:r>
          </a:p>
          <a:p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95D8028-B6C9-4A29-9E55-C022E69A55B6}"/>
              </a:ext>
            </a:extLst>
          </p:cNvPr>
          <p:cNvSpPr/>
          <p:nvPr/>
        </p:nvSpPr>
        <p:spPr>
          <a:xfrm>
            <a:off x="431800" y="933630"/>
            <a:ext cx="7919720" cy="3616816"/>
          </a:xfrm>
          <a:prstGeom prst="rect">
            <a:avLst/>
          </a:prstGeom>
          <a:solidFill>
            <a:srgbClr val="EBF5FF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rtl="0"/>
            <a:endParaRPr lang="en-US" dirty="0">
              <a:latin typeface="Merriweather"/>
            </a:endParaRPr>
          </a:p>
        </p:txBody>
      </p:sp>
      <p:grpSp>
        <p:nvGrpSpPr>
          <p:cNvPr id="8" name="Group 15">
            <a:extLst>
              <a:ext uri="{FF2B5EF4-FFF2-40B4-BE49-F238E27FC236}">
                <a16:creationId xmlns:a16="http://schemas.microsoft.com/office/drawing/2014/main" id="{013A7ED3-A463-4B03-8854-F40603C4CE80}"/>
              </a:ext>
            </a:extLst>
          </p:cNvPr>
          <p:cNvGrpSpPr/>
          <p:nvPr/>
        </p:nvGrpSpPr>
        <p:grpSpPr>
          <a:xfrm>
            <a:off x="3942717" y="1931470"/>
            <a:ext cx="4167808" cy="2176324"/>
            <a:chOff x="1784648" y="2158634"/>
            <a:chExt cx="7700673" cy="4021097"/>
          </a:xfrm>
        </p:grpSpPr>
        <p:grpSp>
          <p:nvGrpSpPr>
            <p:cNvPr id="9" name="Gruppieren 25">
              <a:extLst>
                <a:ext uri="{FF2B5EF4-FFF2-40B4-BE49-F238E27FC236}">
                  <a16:creationId xmlns:a16="http://schemas.microsoft.com/office/drawing/2014/main" id="{4D897952-2A7D-4F27-B9B6-23A0B92E3602}"/>
                </a:ext>
              </a:extLst>
            </p:cNvPr>
            <p:cNvGrpSpPr/>
            <p:nvPr/>
          </p:nvGrpSpPr>
          <p:grpSpPr>
            <a:xfrm rot="18737033">
              <a:off x="5481666" y="2176076"/>
              <a:ext cx="4021097" cy="3986213"/>
              <a:chOff x="2586038" y="1403350"/>
              <a:chExt cx="4757737" cy="4716463"/>
            </a:xfrm>
          </p:grpSpPr>
          <p:grpSp>
            <p:nvGrpSpPr>
              <p:cNvPr id="15" name="Gruppieren 14">
                <a:extLst>
                  <a:ext uri="{FF2B5EF4-FFF2-40B4-BE49-F238E27FC236}">
                    <a16:creationId xmlns:a16="http://schemas.microsoft.com/office/drawing/2014/main" id="{B0B29C47-FB5D-4B9C-B26A-4FB317E2ABF6}"/>
                  </a:ext>
                </a:extLst>
              </p:cNvPr>
              <p:cNvGrpSpPr/>
              <p:nvPr/>
            </p:nvGrpSpPr>
            <p:grpSpPr>
              <a:xfrm>
                <a:off x="4965700" y="1403350"/>
                <a:ext cx="2378075" cy="2540000"/>
                <a:chOff x="4965700" y="1403350"/>
                <a:chExt cx="2378075" cy="2540000"/>
              </a:xfrm>
            </p:grpSpPr>
            <p:sp>
              <p:nvSpPr>
                <p:cNvPr id="25" name="Freeform 5">
                  <a:extLst>
                    <a:ext uri="{FF2B5EF4-FFF2-40B4-BE49-F238E27FC236}">
                      <a16:creationId xmlns:a16="http://schemas.microsoft.com/office/drawing/2014/main" id="{F17DFC54-16DD-4CA3-B86A-204A82DBE722}"/>
                    </a:ext>
                  </a:extLst>
                </p:cNvPr>
                <p:cNvSpPr>
                  <a:spLocks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4965700" y="1403350"/>
                  <a:ext cx="2378075" cy="2540000"/>
                </a:xfrm>
                <a:custGeom>
                  <a:avLst/>
                  <a:gdLst>
                    <a:gd name="T0" fmla="*/ 45 w 1300"/>
                    <a:gd name="T1" fmla="*/ 1 h 1401"/>
                    <a:gd name="T2" fmla="*/ 113 w 1300"/>
                    <a:gd name="T3" fmla="*/ 5 h 1401"/>
                    <a:gd name="T4" fmla="*/ 180 w 1300"/>
                    <a:gd name="T5" fmla="*/ 13 h 1401"/>
                    <a:gd name="T6" fmla="*/ 247 w 1300"/>
                    <a:gd name="T7" fmla="*/ 24 h 1401"/>
                    <a:gd name="T8" fmla="*/ 313 w 1300"/>
                    <a:gd name="T9" fmla="*/ 39 h 1401"/>
                    <a:gd name="T10" fmla="*/ 380 w 1300"/>
                    <a:gd name="T11" fmla="*/ 57 h 1401"/>
                    <a:gd name="T12" fmla="*/ 444 w 1300"/>
                    <a:gd name="T13" fmla="*/ 78 h 1401"/>
                    <a:gd name="T14" fmla="*/ 507 w 1300"/>
                    <a:gd name="T15" fmla="*/ 103 h 1401"/>
                    <a:gd name="T16" fmla="*/ 569 w 1300"/>
                    <a:gd name="T17" fmla="*/ 132 h 1401"/>
                    <a:gd name="T18" fmla="*/ 629 w 1300"/>
                    <a:gd name="T19" fmla="*/ 164 h 1401"/>
                    <a:gd name="T20" fmla="*/ 688 w 1300"/>
                    <a:gd name="T21" fmla="*/ 197 h 1401"/>
                    <a:gd name="T22" fmla="*/ 744 w 1300"/>
                    <a:gd name="T23" fmla="*/ 236 h 1401"/>
                    <a:gd name="T24" fmla="*/ 799 w 1300"/>
                    <a:gd name="T25" fmla="*/ 276 h 1401"/>
                    <a:gd name="T26" fmla="*/ 852 w 1300"/>
                    <a:gd name="T27" fmla="*/ 319 h 1401"/>
                    <a:gd name="T28" fmla="*/ 902 w 1300"/>
                    <a:gd name="T29" fmla="*/ 365 h 1401"/>
                    <a:gd name="T30" fmla="*/ 950 w 1300"/>
                    <a:gd name="T31" fmla="*/ 413 h 1401"/>
                    <a:gd name="T32" fmla="*/ 995 w 1300"/>
                    <a:gd name="T33" fmla="*/ 464 h 1401"/>
                    <a:gd name="T34" fmla="*/ 1037 w 1300"/>
                    <a:gd name="T35" fmla="*/ 518 h 1401"/>
                    <a:gd name="T36" fmla="*/ 1076 w 1300"/>
                    <a:gd name="T37" fmla="*/ 573 h 1401"/>
                    <a:gd name="T38" fmla="*/ 1113 w 1300"/>
                    <a:gd name="T39" fmla="*/ 630 h 1401"/>
                    <a:gd name="T40" fmla="*/ 1146 w 1300"/>
                    <a:gd name="T41" fmla="*/ 690 h 1401"/>
                    <a:gd name="T42" fmla="*/ 1177 w 1300"/>
                    <a:gd name="T43" fmla="*/ 751 h 1401"/>
                    <a:gd name="T44" fmla="*/ 1204 w 1300"/>
                    <a:gd name="T45" fmla="*/ 813 h 1401"/>
                    <a:gd name="T46" fmla="*/ 1228 w 1300"/>
                    <a:gd name="T47" fmla="*/ 877 h 1401"/>
                    <a:gd name="T48" fmla="*/ 1248 w 1300"/>
                    <a:gd name="T49" fmla="*/ 942 h 1401"/>
                    <a:gd name="T50" fmla="*/ 1266 w 1300"/>
                    <a:gd name="T51" fmla="*/ 1007 h 1401"/>
                    <a:gd name="T52" fmla="*/ 1279 w 1300"/>
                    <a:gd name="T53" fmla="*/ 1074 h 1401"/>
                    <a:gd name="T54" fmla="*/ 1290 w 1300"/>
                    <a:gd name="T55" fmla="*/ 1142 h 1401"/>
                    <a:gd name="T56" fmla="*/ 1295 w 1300"/>
                    <a:gd name="T57" fmla="*/ 1209 h 1401"/>
                    <a:gd name="T58" fmla="*/ 1299 w 1300"/>
                    <a:gd name="T59" fmla="*/ 1277 h 1401"/>
                    <a:gd name="T60" fmla="*/ 649 w 1300"/>
                    <a:gd name="T61" fmla="*/ 1300 h 1401"/>
                    <a:gd name="T62" fmla="*/ 648 w 1300"/>
                    <a:gd name="T63" fmla="*/ 1265 h 1401"/>
                    <a:gd name="T64" fmla="*/ 645 w 1300"/>
                    <a:gd name="T65" fmla="*/ 1232 h 1401"/>
                    <a:gd name="T66" fmla="*/ 641 w 1300"/>
                    <a:gd name="T67" fmla="*/ 1198 h 1401"/>
                    <a:gd name="T68" fmla="*/ 635 w 1300"/>
                    <a:gd name="T69" fmla="*/ 1165 h 1401"/>
                    <a:gd name="T70" fmla="*/ 627 w 1300"/>
                    <a:gd name="T71" fmla="*/ 1132 h 1401"/>
                    <a:gd name="T72" fmla="*/ 618 w 1300"/>
                    <a:gd name="T73" fmla="*/ 1099 h 1401"/>
                    <a:gd name="T74" fmla="*/ 606 w 1300"/>
                    <a:gd name="T75" fmla="*/ 1067 h 1401"/>
                    <a:gd name="T76" fmla="*/ 593 w 1300"/>
                    <a:gd name="T77" fmla="*/ 1035 h 1401"/>
                    <a:gd name="T78" fmla="*/ 578 w 1300"/>
                    <a:gd name="T79" fmla="*/ 1004 h 1401"/>
                    <a:gd name="T80" fmla="*/ 562 w 1300"/>
                    <a:gd name="T81" fmla="*/ 975 h 1401"/>
                    <a:gd name="T82" fmla="*/ 545 w 1300"/>
                    <a:gd name="T83" fmla="*/ 946 h 1401"/>
                    <a:gd name="T84" fmla="*/ 525 w 1300"/>
                    <a:gd name="T85" fmla="*/ 918 h 1401"/>
                    <a:gd name="T86" fmla="*/ 504 w 1300"/>
                    <a:gd name="T87" fmla="*/ 891 h 1401"/>
                    <a:gd name="T88" fmla="*/ 482 w 1300"/>
                    <a:gd name="T89" fmla="*/ 865 h 1401"/>
                    <a:gd name="T90" fmla="*/ 458 w 1300"/>
                    <a:gd name="T91" fmla="*/ 840 h 1401"/>
                    <a:gd name="T92" fmla="*/ 434 w 1300"/>
                    <a:gd name="T93" fmla="*/ 817 h 1401"/>
                    <a:gd name="T94" fmla="*/ 408 w 1300"/>
                    <a:gd name="T95" fmla="*/ 795 h 1401"/>
                    <a:gd name="T96" fmla="*/ 382 w 1300"/>
                    <a:gd name="T97" fmla="*/ 774 h 1401"/>
                    <a:gd name="T98" fmla="*/ 353 w 1300"/>
                    <a:gd name="T99" fmla="*/ 755 h 1401"/>
                    <a:gd name="T100" fmla="*/ 324 w 1300"/>
                    <a:gd name="T101" fmla="*/ 737 h 1401"/>
                    <a:gd name="T102" fmla="*/ 294 w 1300"/>
                    <a:gd name="T103" fmla="*/ 721 h 1401"/>
                    <a:gd name="T104" fmla="*/ 263 w 1300"/>
                    <a:gd name="T105" fmla="*/ 706 h 1401"/>
                    <a:gd name="T106" fmla="*/ 232 w 1300"/>
                    <a:gd name="T107" fmla="*/ 693 h 1401"/>
                    <a:gd name="T108" fmla="*/ 200 w 1300"/>
                    <a:gd name="T109" fmla="*/ 682 h 1401"/>
                    <a:gd name="T110" fmla="*/ 167 w 1300"/>
                    <a:gd name="T111" fmla="*/ 672 h 1401"/>
                    <a:gd name="T112" fmla="*/ 135 w 1300"/>
                    <a:gd name="T113" fmla="*/ 665 h 1401"/>
                    <a:gd name="T114" fmla="*/ 101 w 1300"/>
                    <a:gd name="T115" fmla="*/ 658 h 1401"/>
                    <a:gd name="T116" fmla="*/ 68 w 1300"/>
                    <a:gd name="T117" fmla="*/ 653 h 1401"/>
                    <a:gd name="T118" fmla="*/ 33 w 1300"/>
                    <a:gd name="T119" fmla="*/ 651 h 1401"/>
                    <a:gd name="T120" fmla="*/ 0 w 1300"/>
                    <a:gd name="T121" fmla="*/ 650 h 1401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300"/>
                    <a:gd name="T184" fmla="*/ 0 h 1401"/>
                    <a:gd name="T185" fmla="*/ 1300 w 1300"/>
                    <a:gd name="T186" fmla="*/ 1401 h 1401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300" h="1401">
                      <a:moveTo>
                        <a:pt x="0" y="0"/>
                      </a:moveTo>
                      <a:lnTo>
                        <a:pt x="22" y="0"/>
                      </a:lnTo>
                      <a:lnTo>
                        <a:pt x="45" y="1"/>
                      </a:lnTo>
                      <a:lnTo>
                        <a:pt x="68" y="2"/>
                      </a:lnTo>
                      <a:lnTo>
                        <a:pt x="90" y="3"/>
                      </a:lnTo>
                      <a:lnTo>
                        <a:pt x="113" y="5"/>
                      </a:lnTo>
                      <a:lnTo>
                        <a:pt x="135" y="7"/>
                      </a:lnTo>
                      <a:lnTo>
                        <a:pt x="158" y="10"/>
                      </a:lnTo>
                      <a:lnTo>
                        <a:pt x="180" y="13"/>
                      </a:lnTo>
                      <a:lnTo>
                        <a:pt x="203" y="16"/>
                      </a:lnTo>
                      <a:lnTo>
                        <a:pt x="225" y="20"/>
                      </a:lnTo>
                      <a:lnTo>
                        <a:pt x="247" y="24"/>
                      </a:lnTo>
                      <a:lnTo>
                        <a:pt x="269" y="28"/>
                      </a:lnTo>
                      <a:lnTo>
                        <a:pt x="291" y="33"/>
                      </a:lnTo>
                      <a:lnTo>
                        <a:pt x="313" y="39"/>
                      </a:lnTo>
                      <a:lnTo>
                        <a:pt x="335" y="45"/>
                      </a:lnTo>
                      <a:lnTo>
                        <a:pt x="358" y="50"/>
                      </a:lnTo>
                      <a:lnTo>
                        <a:pt x="380" y="57"/>
                      </a:lnTo>
                      <a:lnTo>
                        <a:pt x="401" y="64"/>
                      </a:lnTo>
                      <a:lnTo>
                        <a:pt x="423" y="71"/>
                      </a:lnTo>
                      <a:lnTo>
                        <a:pt x="444" y="78"/>
                      </a:lnTo>
                      <a:lnTo>
                        <a:pt x="465" y="87"/>
                      </a:lnTo>
                      <a:lnTo>
                        <a:pt x="486" y="94"/>
                      </a:lnTo>
                      <a:lnTo>
                        <a:pt x="507" y="103"/>
                      </a:lnTo>
                      <a:lnTo>
                        <a:pt x="527" y="113"/>
                      </a:lnTo>
                      <a:lnTo>
                        <a:pt x="549" y="122"/>
                      </a:lnTo>
                      <a:lnTo>
                        <a:pt x="569" y="132"/>
                      </a:lnTo>
                      <a:lnTo>
                        <a:pt x="589" y="141"/>
                      </a:lnTo>
                      <a:lnTo>
                        <a:pt x="609" y="152"/>
                      </a:lnTo>
                      <a:lnTo>
                        <a:pt x="629" y="164"/>
                      </a:lnTo>
                      <a:lnTo>
                        <a:pt x="649" y="174"/>
                      </a:lnTo>
                      <a:lnTo>
                        <a:pt x="669" y="186"/>
                      </a:lnTo>
                      <a:lnTo>
                        <a:pt x="688" y="197"/>
                      </a:lnTo>
                      <a:lnTo>
                        <a:pt x="707" y="210"/>
                      </a:lnTo>
                      <a:lnTo>
                        <a:pt x="726" y="222"/>
                      </a:lnTo>
                      <a:lnTo>
                        <a:pt x="744" y="236"/>
                      </a:lnTo>
                      <a:lnTo>
                        <a:pt x="764" y="248"/>
                      </a:lnTo>
                      <a:lnTo>
                        <a:pt x="782" y="261"/>
                      </a:lnTo>
                      <a:lnTo>
                        <a:pt x="799" y="276"/>
                      </a:lnTo>
                      <a:lnTo>
                        <a:pt x="817" y="289"/>
                      </a:lnTo>
                      <a:lnTo>
                        <a:pt x="835" y="305"/>
                      </a:lnTo>
                      <a:lnTo>
                        <a:pt x="852" y="319"/>
                      </a:lnTo>
                      <a:lnTo>
                        <a:pt x="869" y="334"/>
                      </a:lnTo>
                      <a:lnTo>
                        <a:pt x="885" y="350"/>
                      </a:lnTo>
                      <a:lnTo>
                        <a:pt x="902" y="365"/>
                      </a:lnTo>
                      <a:lnTo>
                        <a:pt x="918" y="380"/>
                      </a:lnTo>
                      <a:lnTo>
                        <a:pt x="934" y="397"/>
                      </a:lnTo>
                      <a:lnTo>
                        <a:pt x="950" y="413"/>
                      </a:lnTo>
                      <a:lnTo>
                        <a:pt x="965" y="430"/>
                      </a:lnTo>
                      <a:lnTo>
                        <a:pt x="980" y="447"/>
                      </a:lnTo>
                      <a:lnTo>
                        <a:pt x="995" y="464"/>
                      </a:lnTo>
                      <a:lnTo>
                        <a:pt x="1009" y="482"/>
                      </a:lnTo>
                      <a:lnTo>
                        <a:pt x="1024" y="499"/>
                      </a:lnTo>
                      <a:lnTo>
                        <a:pt x="1037" y="518"/>
                      </a:lnTo>
                      <a:lnTo>
                        <a:pt x="1051" y="536"/>
                      </a:lnTo>
                      <a:lnTo>
                        <a:pt x="1064" y="554"/>
                      </a:lnTo>
                      <a:lnTo>
                        <a:pt x="1076" y="573"/>
                      </a:lnTo>
                      <a:lnTo>
                        <a:pt x="1089" y="592"/>
                      </a:lnTo>
                      <a:lnTo>
                        <a:pt x="1101" y="611"/>
                      </a:lnTo>
                      <a:lnTo>
                        <a:pt x="1113" y="630"/>
                      </a:lnTo>
                      <a:lnTo>
                        <a:pt x="1124" y="650"/>
                      </a:lnTo>
                      <a:lnTo>
                        <a:pt x="1136" y="669"/>
                      </a:lnTo>
                      <a:lnTo>
                        <a:pt x="1146" y="690"/>
                      </a:lnTo>
                      <a:lnTo>
                        <a:pt x="1157" y="710"/>
                      </a:lnTo>
                      <a:lnTo>
                        <a:pt x="1168" y="730"/>
                      </a:lnTo>
                      <a:lnTo>
                        <a:pt x="1177" y="751"/>
                      </a:lnTo>
                      <a:lnTo>
                        <a:pt x="1187" y="771"/>
                      </a:lnTo>
                      <a:lnTo>
                        <a:pt x="1195" y="792"/>
                      </a:lnTo>
                      <a:lnTo>
                        <a:pt x="1204" y="813"/>
                      </a:lnTo>
                      <a:lnTo>
                        <a:pt x="1213" y="834"/>
                      </a:lnTo>
                      <a:lnTo>
                        <a:pt x="1220" y="856"/>
                      </a:lnTo>
                      <a:lnTo>
                        <a:pt x="1228" y="877"/>
                      </a:lnTo>
                      <a:lnTo>
                        <a:pt x="1235" y="898"/>
                      </a:lnTo>
                      <a:lnTo>
                        <a:pt x="1242" y="920"/>
                      </a:lnTo>
                      <a:lnTo>
                        <a:pt x="1248" y="942"/>
                      </a:lnTo>
                      <a:lnTo>
                        <a:pt x="1255" y="963"/>
                      </a:lnTo>
                      <a:lnTo>
                        <a:pt x="1261" y="985"/>
                      </a:lnTo>
                      <a:lnTo>
                        <a:pt x="1266" y="1007"/>
                      </a:lnTo>
                      <a:lnTo>
                        <a:pt x="1270" y="1029"/>
                      </a:lnTo>
                      <a:lnTo>
                        <a:pt x="1275" y="1051"/>
                      </a:lnTo>
                      <a:lnTo>
                        <a:pt x="1279" y="1074"/>
                      </a:lnTo>
                      <a:lnTo>
                        <a:pt x="1283" y="1097"/>
                      </a:lnTo>
                      <a:lnTo>
                        <a:pt x="1287" y="1119"/>
                      </a:lnTo>
                      <a:lnTo>
                        <a:pt x="1290" y="1142"/>
                      </a:lnTo>
                      <a:lnTo>
                        <a:pt x="1291" y="1164"/>
                      </a:lnTo>
                      <a:lnTo>
                        <a:pt x="1294" y="1187"/>
                      </a:lnTo>
                      <a:lnTo>
                        <a:pt x="1295" y="1209"/>
                      </a:lnTo>
                      <a:lnTo>
                        <a:pt x="1297" y="1232"/>
                      </a:lnTo>
                      <a:lnTo>
                        <a:pt x="1298" y="1254"/>
                      </a:lnTo>
                      <a:lnTo>
                        <a:pt x="1299" y="1277"/>
                      </a:lnTo>
                      <a:lnTo>
                        <a:pt x="1299" y="1300"/>
                      </a:lnTo>
                      <a:lnTo>
                        <a:pt x="962" y="1400"/>
                      </a:lnTo>
                      <a:lnTo>
                        <a:pt x="649" y="1300"/>
                      </a:lnTo>
                      <a:lnTo>
                        <a:pt x="649" y="1289"/>
                      </a:lnTo>
                      <a:lnTo>
                        <a:pt x="648" y="1277"/>
                      </a:lnTo>
                      <a:lnTo>
                        <a:pt x="648" y="1265"/>
                      </a:lnTo>
                      <a:lnTo>
                        <a:pt x="647" y="1255"/>
                      </a:lnTo>
                      <a:lnTo>
                        <a:pt x="646" y="1243"/>
                      </a:lnTo>
                      <a:lnTo>
                        <a:pt x="645" y="1232"/>
                      </a:lnTo>
                      <a:lnTo>
                        <a:pt x="645" y="1220"/>
                      </a:lnTo>
                      <a:lnTo>
                        <a:pt x="643" y="1210"/>
                      </a:lnTo>
                      <a:lnTo>
                        <a:pt x="641" y="1198"/>
                      </a:lnTo>
                      <a:lnTo>
                        <a:pt x="639" y="1187"/>
                      </a:lnTo>
                      <a:lnTo>
                        <a:pt x="637" y="1176"/>
                      </a:lnTo>
                      <a:lnTo>
                        <a:pt x="635" y="1165"/>
                      </a:lnTo>
                      <a:lnTo>
                        <a:pt x="632" y="1153"/>
                      </a:lnTo>
                      <a:lnTo>
                        <a:pt x="630" y="1143"/>
                      </a:lnTo>
                      <a:lnTo>
                        <a:pt x="627" y="1132"/>
                      </a:lnTo>
                      <a:lnTo>
                        <a:pt x="624" y="1121"/>
                      </a:lnTo>
                      <a:lnTo>
                        <a:pt x="621" y="1110"/>
                      </a:lnTo>
                      <a:lnTo>
                        <a:pt x="618" y="1099"/>
                      </a:lnTo>
                      <a:lnTo>
                        <a:pt x="614" y="1088"/>
                      </a:lnTo>
                      <a:lnTo>
                        <a:pt x="610" y="1077"/>
                      </a:lnTo>
                      <a:lnTo>
                        <a:pt x="606" y="1067"/>
                      </a:lnTo>
                      <a:lnTo>
                        <a:pt x="601" y="1056"/>
                      </a:lnTo>
                      <a:lnTo>
                        <a:pt x="597" y="1046"/>
                      </a:lnTo>
                      <a:lnTo>
                        <a:pt x="593" y="1035"/>
                      </a:lnTo>
                      <a:lnTo>
                        <a:pt x="588" y="1025"/>
                      </a:lnTo>
                      <a:lnTo>
                        <a:pt x="583" y="1015"/>
                      </a:lnTo>
                      <a:lnTo>
                        <a:pt x="578" y="1004"/>
                      </a:lnTo>
                      <a:lnTo>
                        <a:pt x="573" y="995"/>
                      </a:lnTo>
                      <a:lnTo>
                        <a:pt x="568" y="985"/>
                      </a:lnTo>
                      <a:lnTo>
                        <a:pt x="562" y="975"/>
                      </a:lnTo>
                      <a:lnTo>
                        <a:pt x="556" y="965"/>
                      </a:lnTo>
                      <a:lnTo>
                        <a:pt x="550" y="955"/>
                      </a:lnTo>
                      <a:lnTo>
                        <a:pt x="545" y="946"/>
                      </a:lnTo>
                      <a:lnTo>
                        <a:pt x="538" y="936"/>
                      </a:lnTo>
                      <a:lnTo>
                        <a:pt x="531" y="927"/>
                      </a:lnTo>
                      <a:lnTo>
                        <a:pt x="525" y="918"/>
                      </a:lnTo>
                      <a:lnTo>
                        <a:pt x="518" y="908"/>
                      </a:lnTo>
                      <a:lnTo>
                        <a:pt x="511" y="900"/>
                      </a:lnTo>
                      <a:lnTo>
                        <a:pt x="504" y="891"/>
                      </a:lnTo>
                      <a:lnTo>
                        <a:pt x="497" y="882"/>
                      </a:lnTo>
                      <a:lnTo>
                        <a:pt x="490" y="874"/>
                      </a:lnTo>
                      <a:lnTo>
                        <a:pt x="482" y="865"/>
                      </a:lnTo>
                      <a:lnTo>
                        <a:pt x="475" y="857"/>
                      </a:lnTo>
                      <a:lnTo>
                        <a:pt x="467" y="848"/>
                      </a:lnTo>
                      <a:lnTo>
                        <a:pt x="458" y="840"/>
                      </a:lnTo>
                      <a:lnTo>
                        <a:pt x="451" y="833"/>
                      </a:lnTo>
                      <a:lnTo>
                        <a:pt x="442" y="825"/>
                      </a:lnTo>
                      <a:lnTo>
                        <a:pt x="434" y="817"/>
                      </a:lnTo>
                      <a:lnTo>
                        <a:pt x="426" y="810"/>
                      </a:lnTo>
                      <a:lnTo>
                        <a:pt x="417" y="802"/>
                      </a:lnTo>
                      <a:lnTo>
                        <a:pt x="408" y="795"/>
                      </a:lnTo>
                      <a:lnTo>
                        <a:pt x="400" y="787"/>
                      </a:lnTo>
                      <a:lnTo>
                        <a:pt x="390" y="781"/>
                      </a:lnTo>
                      <a:lnTo>
                        <a:pt x="382" y="774"/>
                      </a:lnTo>
                      <a:lnTo>
                        <a:pt x="372" y="767"/>
                      </a:lnTo>
                      <a:lnTo>
                        <a:pt x="362" y="761"/>
                      </a:lnTo>
                      <a:lnTo>
                        <a:pt x="353" y="755"/>
                      </a:lnTo>
                      <a:lnTo>
                        <a:pt x="344" y="749"/>
                      </a:lnTo>
                      <a:lnTo>
                        <a:pt x="334" y="742"/>
                      </a:lnTo>
                      <a:lnTo>
                        <a:pt x="324" y="737"/>
                      </a:lnTo>
                      <a:lnTo>
                        <a:pt x="314" y="732"/>
                      </a:lnTo>
                      <a:lnTo>
                        <a:pt x="305" y="726"/>
                      </a:lnTo>
                      <a:lnTo>
                        <a:pt x="294" y="721"/>
                      </a:lnTo>
                      <a:lnTo>
                        <a:pt x="285" y="715"/>
                      </a:lnTo>
                      <a:lnTo>
                        <a:pt x="274" y="711"/>
                      </a:lnTo>
                      <a:lnTo>
                        <a:pt x="263" y="706"/>
                      </a:lnTo>
                      <a:lnTo>
                        <a:pt x="253" y="702"/>
                      </a:lnTo>
                      <a:lnTo>
                        <a:pt x="242" y="697"/>
                      </a:lnTo>
                      <a:lnTo>
                        <a:pt x="232" y="693"/>
                      </a:lnTo>
                      <a:lnTo>
                        <a:pt x="221" y="690"/>
                      </a:lnTo>
                      <a:lnTo>
                        <a:pt x="211" y="686"/>
                      </a:lnTo>
                      <a:lnTo>
                        <a:pt x="200" y="682"/>
                      </a:lnTo>
                      <a:lnTo>
                        <a:pt x="190" y="678"/>
                      </a:lnTo>
                      <a:lnTo>
                        <a:pt x="178" y="675"/>
                      </a:lnTo>
                      <a:lnTo>
                        <a:pt x="167" y="672"/>
                      </a:lnTo>
                      <a:lnTo>
                        <a:pt x="157" y="669"/>
                      </a:lnTo>
                      <a:lnTo>
                        <a:pt x="145" y="667"/>
                      </a:lnTo>
                      <a:lnTo>
                        <a:pt x="135" y="665"/>
                      </a:lnTo>
                      <a:lnTo>
                        <a:pt x="123" y="662"/>
                      </a:lnTo>
                      <a:lnTo>
                        <a:pt x="112" y="660"/>
                      </a:lnTo>
                      <a:lnTo>
                        <a:pt x="101" y="658"/>
                      </a:lnTo>
                      <a:lnTo>
                        <a:pt x="90" y="656"/>
                      </a:lnTo>
                      <a:lnTo>
                        <a:pt x="78" y="655"/>
                      </a:lnTo>
                      <a:lnTo>
                        <a:pt x="68" y="653"/>
                      </a:lnTo>
                      <a:lnTo>
                        <a:pt x="56" y="652"/>
                      </a:lnTo>
                      <a:lnTo>
                        <a:pt x="45" y="651"/>
                      </a:lnTo>
                      <a:lnTo>
                        <a:pt x="33" y="651"/>
                      </a:lnTo>
                      <a:lnTo>
                        <a:pt x="22" y="650"/>
                      </a:lnTo>
                      <a:lnTo>
                        <a:pt x="11" y="650"/>
                      </a:lnTo>
                      <a:lnTo>
                        <a:pt x="0" y="650"/>
                      </a:lnTo>
                      <a:lnTo>
                        <a:pt x="98" y="344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9050" cap="rnd">
                  <a:solidFill>
                    <a:srgbClr val="002D41"/>
                  </a:solidFill>
                  <a:round/>
                  <a:headEnd/>
                  <a:tailEnd/>
                </a:ln>
              </p:spPr>
              <p:txBody>
                <a:bodyPr lIns="72000" tIns="72000" rIns="72000" bIns="72000" anchor="ctr"/>
                <a:lstStyle/>
                <a:p>
                  <a:pPr>
                    <a:spcBef>
                      <a:spcPts val="800"/>
                    </a:spcBef>
                  </a:pPr>
                  <a:endParaRPr lang="de-DE" sz="800">
                    <a:latin typeface="+mn-lt"/>
                  </a:endParaRPr>
                </a:p>
              </p:txBody>
            </p:sp>
            <p:sp>
              <p:nvSpPr>
                <p:cNvPr id="26" name="Text Box 7">
                  <a:extLst>
                    <a:ext uri="{FF2B5EF4-FFF2-40B4-BE49-F238E27FC236}">
                      <a16:creationId xmlns:a16="http://schemas.microsoft.com/office/drawing/2014/main" id="{B91A8DF9-1F39-4340-8D50-BCEE6F9EEF0D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 rot="2862967">
                  <a:off x="5600099" y="2321331"/>
                  <a:ext cx="1511721" cy="538272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0" tIns="0" rIns="0" bIns="0" anchor="ctr">
                  <a:spAutoFit/>
                </a:bodyPr>
                <a:lstStyle/>
                <a:p>
                  <a:pPr algn="ctr">
                    <a:spcBef>
                      <a:spcPts val="800"/>
                    </a:spcBef>
                  </a:pPr>
                  <a:r>
                    <a:rPr lang="de-DE" sz="800"/>
                    <a:t>Wöchentlicher </a:t>
                  </a:r>
                  <a:r>
                    <a:rPr lang="de-DE" sz="800">
                      <a:solidFill>
                        <a:srgbClr val="000000"/>
                      </a:solidFill>
                      <a:latin typeface="Arial"/>
                      <a:cs typeface="Arial"/>
                    </a:rPr>
                    <a:t>OKR-Termin</a:t>
                  </a:r>
                  <a:endParaRPr lang="de-DE" sz="800">
                    <a:latin typeface="+mn-lt"/>
                  </a:endParaRPr>
                </a:p>
              </p:txBody>
            </p:sp>
          </p:grpSp>
          <p:grpSp>
            <p:nvGrpSpPr>
              <p:cNvPr id="16" name="Gruppieren 15">
                <a:extLst>
                  <a:ext uri="{FF2B5EF4-FFF2-40B4-BE49-F238E27FC236}">
                    <a16:creationId xmlns:a16="http://schemas.microsoft.com/office/drawing/2014/main" id="{C3B6E6C6-4912-40DE-8D5B-92D46E3E4ECD}"/>
                  </a:ext>
                </a:extLst>
              </p:cNvPr>
              <p:cNvGrpSpPr/>
              <p:nvPr/>
            </p:nvGrpSpPr>
            <p:grpSpPr>
              <a:xfrm>
                <a:off x="2586038" y="1403350"/>
                <a:ext cx="2560637" cy="2359025"/>
                <a:chOff x="2586038" y="1403350"/>
                <a:chExt cx="2560637" cy="2359025"/>
              </a:xfrm>
            </p:grpSpPr>
            <p:sp>
              <p:nvSpPr>
                <p:cNvPr id="23" name="Freeform 3">
                  <a:extLst>
                    <a:ext uri="{FF2B5EF4-FFF2-40B4-BE49-F238E27FC236}">
                      <a16:creationId xmlns:a16="http://schemas.microsoft.com/office/drawing/2014/main" id="{FA04378D-A772-4040-8C61-0C1F5A7D0D15}"/>
                    </a:ext>
                  </a:extLst>
                </p:cNvPr>
                <p:cNvSpPr>
                  <a:spLocks/>
                </p:cNvSpPr>
                <p:nvPr>
                  <p:custDataLst>
                    <p:tags r:id="rId5"/>
                  </p:custDataLst>
                </p:nvPr>
              </p:nvSpPr>
              <p:spPr bwMode="auto">
                <a:xfrm>
                  <a:off x="2586038" y="1403350"/>
                  <a:ext cx="2560637" cy="2359025"/>
                </a:xfrm>
                <a:custGeom>
                  <a:avLst/>
                  <a:gdLst>
                    <a:gd name="T0" fmla="*/ 1 w 1399"/>
                    <a:gd name="T1" fmla="*/ 1254 h 1301"/>
                    <a:gd name="T2" fmla="*/ 5 w 1399"/>
                    <a:gd name="T3" fmla="*/ 1187 h 1301"/>
                    <a:gd name="T4" fmla="*/ 12 w 1399"/>
                    <a:gd name="T5" fmla="*/ 1119 h 1301"/>
                    <a:gd name="T6" fmla="*/ 24 w 1399"/>
                    <a:gd name="T7" fmla="*/ 1051 h 1301"/>
                    <a:gd name="T8" fmla="*/ 38 w 1399"/>
                    <a:gd name="T9" fmla="*/ 985 h 1301"/>
                    <a:gd name="T10" fmla="*/ 57 w 1399"/>
                    <a:gd name="T11" fmla="*/ 920 h 1301"/>
                    <a:gd name="T12" fmla="*/ 78 w 1399"/>
                    <a:gd name="T13" fmla="*/ 856 h 1301"/>
                    <a:gd name="T14" fmla="*/ 103 w 1399"/>
                    <a:gd name="T15" fmla="*/ 792 h 1301"/>
                    <a:gd name="T16" fmla="*/ 131 w 1399"/>
                    <a:gd name="T17" fmla="*/ 730 h 1301"/>
                    <a:gd name="T18" fmla="*/ 163 w 1399"/>
                    <a:gd name="T19" fmla="*/ 669 h 1301"/>
                    <a:gd name="T20" fmla="*/ 197 w 1399"/>
                    <a:gd name="T21" fmla="*/ 611 h 1301"/>
                    <a:gd name="T22" fmla="*/ 235 w 1399"/>
                    <a:gd name="T23" fmla="*/ 554 h 1301"/>
                    <a:gd name="T24" fmla="*/ 275 w 1399"/>
                    <a:gd name="T25" fmla="*/ 499 h 1301"/>
                    <a:gd name="T26" fmla="*/ 319 w 1399"/>
                    <a:gd name="T27" fmla="*/ 447 h 1301"/>
                    <a:gd name="T28" fmla="*/ 365 w 1399"/>
                    <a:gd name="T29" fmla="*/ 397 h 1301"/>
                    <a:gd name="T30" fmla="*/ 413 w 1399"/>
                    <a:gd name="T31" fmla="*/ 350 h 1301"/>
                    <a:gd name="T32" fmla="*/ 463 w 1399"/>
                    <a:gd name="T33" fmla="*/ 305 h 1301"/>
                    <a:gd name="T34" fmla="*/ 517 w 1399"/>
                    <a:gd name="T35" fmla="*/ 261 h 1301"/>
                    <a:gd name="T36" fmla="*/ 573 w 1399"/>
                    <a:gd name="T37" fmla="*/ 222 h 1301"/>
                    <a:gd name="T38" fmla="*/ 630 w 1399"/>
                    <a:gd name="T39" fmla="*/ 186 h 1301"/>
                    <a:gd name="T40" fmla="*/ 689 w 1399"/>
                    <a:gd name="T41" fmla="*/ 152 h 1301"/>
                    <a:gd name="T42" fmla="*/ 750 w 1399"/>
                    <a:gd name="T43" fmla="*/ 122 h 1301"/>
                    <a:gd name="T44" fmla="*/ 813 w 1399"/>
                    <a:gd name="T45" fmla="*/ 94 h 1301"/>
                    <a:gd name="T46" fmla="*/ 876 w 1399"/>
                    <a:gd name="T47" fmla="*/ 71 h 1301"/>
                    <a:gd name="T48" fmla="*/ 941 w 1399"/>
                    <a:gd name="T49" fmla="*/ 50 h 1301"/>
                    <a:gd name="T50" fmla="*/ 1007 w 1399"/>
                    <a:gd name="T51" fmla="*/ 33 h 1301"/>
                    <a:gd name="T52" fmla="*/ 1074 w 1399"/>
                    <a:gd name="T53" fmla="*/ 20 h 1301"/>
                    <a:gd name="T54" fmla="*/ 1141 w 1399"/>
                    <a:gd name="T55" fmla="*/ 10 h 1301"/>
                    <a:gd name="T56" fmla="*/ 1208 w 1399"/>
                    <a:gd name="T57" fmla="*/ 3 h 1301"/>
                    <a:gd name="T58" fmla="*/ 1276 w 1399"/>
                    <a:gd name="T59" fmla="*/ 0 h 1301"/>
                    <a:gd name="T60" fmla="*/ 1300 w 1399"/>
                    <a:gd name="T61" fmla="*/ 650 h 1301"/>
                    <a:gd name="T62" fmla="*/ 1265 w 1399"/>
                    <a:gd name="T63" fmla="*/ 651 h 1301"/>
                    <a:gd name="T64" fmla="*/ 1231 w 1399"/>
                    <a:gd name="T65" fmla="*/ 653 h 1301"/>
                    <a:gd name="T66" fmla="*/ 1198 w 1399"/>
                    <a:gd name="T67" fmla="*/ 658 h 1301"/>
                    <a:gd name="T68" fmla="*/ 1164 w 1399"/>
                    <a:gd name="T69" fmla="*/ 665 h 1301"/>
                    <a:gd name="T70" fmla="*/ 1132 w 1399"/>
                    <a:gd name="T71" fmla="*/ 672 h 1301"/>
                    <a:gd name="T72" fmla="*/ 1099 w 1399"/>
                    <a:gd name="T73" fmla="*/ 682 h 1301"/>
                    <a:gd name="T74" fmla="*/ 1066 w 1399"/>
                    <a:gd name="T75" fmla="*/ 693 h 1301"/>
                    <a:gd name="T76" fmla="*/ 1035 w 1399"/>
                    <a:gd name="T77" fmla="*/ 706 h 1301"/>
                    <a:gd name="T78" fmla="*/ 1004 w 1399"/>
                    <a:gd name="T79" fmla="*/ 721 h 1301"/>
                    <a:gd name="T80" fmla="*/ 974 w 1399"/>
                    <a:gd name="T81" fmla="*/ 737 h 1301"/>
                    <a:gd name="T82" fmla="*/ 945 w 1399"/>
                    <a:gd name="T83" fmla="*/ 755 h 1301"/>
                    <a:gd name="T84" fmla="*/ 917 w 1399"/>
                    <a:gd name="T85" fmla="*/ 774 h 1301"/>
                    <a:gd name="T86" fmla="*/ 891 w 1399"/>
                    <a:gd name="T87" fmla="*/ 795 h 1301"/>
                    <a:gd name="T88" fmla="*/ 865 w 1399"/>
                    <a:gd name="T89" fmla="*/ 817 h 1301"/>
                    <a:gd name="T90" fmla="*/ 840 w 1399"/>
                    <a:gd name="T91" fmla="*/ 840 h 1301"/>
                    <a:gd name="T92" fmla="*/ 817 w 1399"/>
                    <a:gd name="T93" fmla="*/ 865 h 1301"/>
                    <a:gd name="T94" fmla="*/ 795 w 1399"/>
                    <a:gd name="T95" fmla="*/ 891 h 1301"/>
                    <a:gd name="T96" fmla="*/ 774 w 1399"/>
                    <a:gd name="T97" fmla="*/ 918 h 1301"/>
                    <a:gd name="T98" fmla="*/ 754 w 1399"/>
                    <a:gd name="T99" fmla="*/ 946 h 1301"/>
                    <a:gd name="T100" fmla="*/ 736 w 1399"/>
                    <a:gd name="T101" fmla="*/ 975 h 1301"/>
                    <a:gd name="T102" fmla="*/ 721 w 1399"/>
                    <a:gd name="T103" fmla="*/ 1004 h 1301"/>
                    <a:gd name="T104" fmla="*/ 705 w 1399"/>
                    <a:gd name="T105" fmla="*/ 1035 h 1301"/>
                    <a:gd name="T106" fmla="*/ 693 w 1399"/>
                    <a:gd name="T107" fmla="*/ 1067 h 1301"/>
                    <a:gd name="T108" fmla="*/ 681 w 1399"/>
                    <a:gd name="T109" fmla="*/ 1099 h 1301"/>
                    <a:gd name="T110" fmla="*/ 672 w 1399"/>
                    <a:gd name="T111" fmla="*/ 1132 h 1301"/>
                    <a:gd name="T112" fmla="*/ 664 w 1399"/>
                    <a:gd name="T113" fmla="*/ 1165 h 1301"/>
                    <a:gd name="T114" fmla="*/ 657 w 1399"/>
                    <a:gd name="T115" fmla="*/ 1198 h 1301"/>
                    <a:gd name="T116" fmla="*/ 653 w 1399"/>
                    <a:gd name="T117" fmla="*/ 1232 h 1301"/>
                    <a:gd name="T118" fmla="*/ 651 w 1399"/>
                    <a:gd name="T119" fmla="*/ 1265 h 1301"/>
                    <a:gd name="T120" fmla="*/ 650 w 1399"/>
                    <a:gd name="T121" fmla="*/ 1300 h 1301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399"/>
                    <a:gd name="T184" fmla="*/ 0 h 1301"/>
                    <a:gd name="T185" fmla="*/ 1399 w 1399"/>
                    <a:gd name="T186" fmla="*/ 1301 h 1301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399" h="1301">
                      <a:moveTo>
                        <a:pt x="0" y="1300"/>
                      </a:moveTo>
                      <a:lnTo>
                        <a:pt x="0" y="1277"/>
                      </a:lnTo>
                      <a:lnTo>
                        <a:pt x="1" y="1254"/>
                      </a:lnTo>
                      <a:lnTo>
                        <a:pt x="2" y="1232"/>
                      </a:lnTo>
                      <a:lnTo>
                        <a:pt x="3" y="1209"/>
                      </a:lnTo>
                      <a:lnTo>
                        <a:pt x="5" y="1187"/>
                      </a:lnTo>
                      <a:lnTo>
                        <a:pt x="7" y="1164"/>
                      </a:lnTo>
                      <a:lnTo>
                        <a:pt x="9" y="1142"/>
                      </a:lnTo>
                      <a:lnTo>
                        <a:pt x="12" y="1119"/>
                      </a:lnTo>
                      <a:lnTo>
                        <a:pt x="15" y="1097"/>
                      </a:lnTo>
                      <a:lnTo>
                        <a:pt x="19" y="1074"/>
                      </a:lnTo>
                      <a:lnTo>
                        <a:pt x="24" y="1051"/>
                      </a:lnTo>
                      <a:lnTo>
                        <a:pt x="28" y="1029"/>
                      </a:lnTo>
                      <a:lnTo>
                        <a:pt x="33" y="1007"/>
                      </a:lnTo>
                      <a:lnTo>
                        <a:pt x="38" y="985"/>
                      </a:lnTo>
                      <a:lnTo>
                        <a:pt x="44" y="963"/>
                      </a:lnTo>
                      <a:lnTo>
                        <a:pt x="50" y="942"/>
                      </a:lnTo>
                      <a:lnTo>
                        <a:pt x="57" y="920"/>
                      </a:lnTo>
                      <a:lnTo>
                        <a:pt x="63" y="898"/>
                      </a:lnTo>
                      <a:lnTo>
                        <a:pt x="71" y="877"/>
                      </a:lnTo>
                      <a:lnTo>
                        <a:pt x="78" y="856"/>
                      </a:lnTo>
                      <a:lnTo>
                        <a:pt x="86" y="834"/>
                      </a:lnTo>
                      <a:lnTo>
                        <a:pt x="94" y="813"/>
                      </a:lnTo>
                      <a:lnTo>
                        <a:pt x="103" y="792"/>
                      </a:lnTo>
                      <a:lnTo>
                        <a:pt x="112" y="771"/>
                      </a:lnTo>
                      <a:lnTo>
                        <a:pt x="122" y="751"/>
                      </a:lnTo>
                      <a:lnTo>
                        <a:pt x="131" y="730"/>
                      </a:lnTo>
                      <a:lnTo>
                        <a:pt x="141" y="710"/>
                      </a:lnTo>
                      <a:lnTo>
                        <a:pt x="152" y="690"/>
                      </a:lnTo>
                      <a:lnTo>
                        <a:pt x="163" y="669"/>
                      </a:lnTo>
                      <a:lnTo>
                        <a:pt x="174" y="650"/>
                      </a:lnTo>
                      <a:lnTo>
                        <a:pt x="185" y="630"/>
                      </a:lnTo>
                      <a:lnTo>
                        <a:pt x="197" y="611"/>
                      </a:lnTo>
                      <a:lnTo>
                        <a:pt x="209" y="592"/>
                      </a:lnTo>
                      <a:lnTo>
                        <a:pt x="222" y="573"/>
                      </a:lnTo>
                      <a:lnTo>
                        <a:pt x="235" y="554"/>
                      </a:lnTo>
                      <a:lnTo>
                        <a:pt x="248" y="536"/>
                      </a:lnTo>
                      <a:lnTo>
                        <a:pt x="261" y="518"/>
                      </a:lnTo>
                      <a:lnTo>
                        <a:pt x="275" y="499"/>
                      </a:lnTo>
                      <a:lnTo>
                        <a:pt x="289" y="482"/>
                      </a:lnTo>
                      <a:lnTo>
                        <a:pt x="304" y="464"/>
                      </a:lnTo>
                      <a:lnTo>
                        <a:pt x="319" y="447"/>
                      </a:lnTo>
                      <a:lnTo>
                        <a:pt x="334" y="430"/>
                      </a:lnTo>
                      <a:lnTo>
                        <a:pt x="349" y="413"/>
                      </a:lnTo>
                      <a:lnTo>
                        <a:pt x="365" y="397"/>
                      </a:lnTo>
                      <a:lnTo>
                        <a:pt x="380" y="380"/>
                      </a:lnTo>
                      <a:lnTo>
                        <a:pt x="396" y="365"/>
                      </a:lnTo>
                      <a:lnTo>
                        <a:pt x="413" y="350"/>
                      </a:lnTo>
                      <a:lnTo>
                        <a:pt x="430" y="334"/>
                      </a:lnTo>
                      <a:lnTo>
                        <a:pt x="446" y="319"/>
                      </a:lnTo>
                      <a:lnTo>
                        <a:pt x="463" y="305"/>
                      </a:lnTo>
                      <a:lnTo>
                        <a:pt x="482" y="289"/>
                      </a:lnTo>
                      <a:lnTo>
                        <a:pt x="499" y="276"/>
                      </a:lnTo>
                      <a:lnTo>
                        <a:pt x="517" y="261"/>
                      </a:lnTo>
                      <a:lnTo>
                        <a:pt x="535" y="248"/>
                      </a:lnTo>
                      <a:lnTo>
                        <a:pt x="554" y="236"/>
                      </a:lnTo>
                      <a:lnTo>
                        <a:pt x="573" y="222"/>
                      </a:lnTo>
                      <a:lnTo>
                        <a:pt x="591" y="210"/>
                      </a:lnTo>
                      <a:lnTo>
                        <a:pt x="610" y="197"/>
                      </a:lnTo>
                      <a:lnTo>
                        <a:pt x="630" y="186"/>
                      </a:lnTo>
                      <a:lnTo>
                        <a:pt x="650" y="174"/>
                      </a:lnTo>
                      <a:lnTo>
                        <a:pt x="669" y="164"/>
                      </a:lnTo>
                      <a:lnTo>
                        <a:pt x="689" y="152"/>
                      </a:lnTo>
                      <a:lnTo>
                        <a:pt x="709" y="141"/>
                      </a:lnTo>
                      <a:lnTo>
                        <a:pt x="729" y="132"/>
                      </a:lnTo>
                      <a:lnTo>
                        <a:pt x="750" y="122"/>
                      </a:lnTo>
                      <a:lnTo>
                        <a:pt x="771" y="113"/>
                      </a:lnTo>
                      <a:lnTo>
                        <a:pt x="792" y="103"/>
                      </a:lnTo>
                      <a:lnTo>
                        <a:pt x="813" y="94"/>
                      </a:lnTo>
                      <a:lnTo>
                        <a:pt x="834" y="87"/>
                      </a:lnTo>
                      <a:lnTo>
                        <a:pt x="855" y="78"/>
                      </a:lnTo>
                      <a:lnTo>
                        <a:pt x="876" y="71"/>
                      </a:lnTo>
                      <a:lnTo>
                        <a:pt x="897" y="64"/>
                      </a:lnTo>
                      <a:lnTo>
                        <a:pt x="919" y="57"/>
                      </a:lnTo>
                      <a:lnTo>
                        <a:pt x="941" y="50"/>
                      </a:lnTo>
                      <a:lnTo>
                        <a:pt x="963" y="45"/>
                      </a:lnTo>
                      <a:lnTo>
                        <a:pt x="985" y="39"/>
                      </a:lnTo>
                      <a:lnTo>
                        <a:pt x="1007" y="33"/>
                      </a:lnTo>
                      <a:lnTo>
                        <a:pt x="1029" y="28"/>
                      </a:lnTo>
                      <a:lnTo>
                        <a:pt x="1051" y="24"/>
                      </a:lnTo>
                      <a:lnTo>
                        <a:pt x="1074" y="20"/>
                      </a:lnTo>
                      <a:lnTo>
                        <a:pt x="1096" y="16"/>
                      </a:lnTo>
                      <a:lnTo>
                        <a:pt x="1118" y="13"/>
                      </a:lnTo>
                      <a:lnTo>
                        <a:pt x="1141" y="10"/>
                      </a:lnTo>
                      <a:lnTo>
                        <a:pt x="1163" y="7"/>
                      </a:lnTo>
                      <a:lnTo>
                        <a:pt x="1186" y="5"/>
                      </a:lnTo>
                      <a:lnTo>
                        <a:pt x="1208" y="3"/>
                      </a:lnTo>
                      <a:lnTo>
                        <a:pt x="1231" y="2"/>
                      </a:lnTo>
                      <a:lnTo>
                        <a:pt x="1253" y="1"/>
                      </a:lnTo>
                      <a:lnTo>
                        <a:pt x="1276" y="0"/>
                      </a:lnTo>
                      <a:lnTo>
                        <a:pt x="1300" y="0"/>
                      </a:lnTo>
                      <a:lnTo>
                        <a:pt x="1398" y="344"/>
                      </a:lnTo>
                      <a:lnTo>
                        <a:pt x="1300" y="650"/>
                      </a:lnTo>
                      <a:lnTo>
                        <a:pt x="1288" y="650"/>
                      </a:lnTo>
                      <a:lnTo>
                        <a:pt x="1276" y="650"/>
                      </a:lnTo>
                      <a:lnTo>
                        <a:pt x="1265" y="651"/>
                      </a:lnTo>
                      <a:lnTo>
                        <a:pt x="1254" y="651"/>
                      </a:lnTo>
                      <a:lnTo>
                        <a:pt x="1243" y="652"/>
                      </a:lnTo>
                      <a:lnTo>
                        <a:pt x="1231" y="653"/>
                      </a:lnTo>
                      <a:lnTo>
                        <a:pt x="1220" y="655"/>
                      </a:lnTo>
                      <a:lnTo>
                        <a:pt x="1209" y="656"/>
                      </a:lnTo>
                      <a:lnTo>
                        <a:pt x="1198" y="658"/>
                      </a:lnTo>
                      <a:lnTo>
                        <a:pt x="1186" y="660"/>
                      </a:lnTo>
                      <a:lnTo>
                        <a:pt x="1176" y="662"/>
                      </a:lnTo>
                      <a:lnTo>
                        <a:pt x="1164" y="665"/>
                      </a:lnTo>
                      <a:lnTo>
                        <a:pt x="1153" y="667"/>
                      </a:lnTo>
                      <a:lnTo>
                        <a:pt x="1142" y="669"/>
                      </a:lnTo>
                      <a:lnTo>
                        <a:pt x="1132" y="672"/>
                      </a:lnTo>
                      <a:lnTo>
                        <a:pt x="1120" y="675"/>
                      </a:lnTo>
                      <a:lnTo>
                        <a:pt x="1109" y="678"/>
                      </a:lnTo>
                      <a:lnTo>
                        <a:pt x="1099" y="682"/>
                      </a:lnTo>
                      <a:lnTo>
                        <a:pt x="1087" y="686"/>
                      </a:lnTo>
                      <a:lnTo>
                        <a:pt x="1077" y="690"/>
                      </a:lnTo>
                      <a:lnTo>
                        <a:pt x="1066" y="693"/>
                      </a:lnTo>
                      <a:lnTo>
                        <a:pt x="1056" y="697"/>
                      </a:lnTo>
                      <a:lnTo>
                        <a:pt x="1045" y="702"/>
                      </a:lnTo>
                      <a:lnTo>
                        <a:pt x="1035" y="706"/>
                      </a:lnTo>
                      <a:lnTo>
                        <a:pt x="1025" y="711"/>
                      </a:lnTo>
                      <a:lnTo>
                        <a:pt x="1014" y="715"/>
                      </a:lnTo>
                      <a:lnTo>
                        <a:pt x="1004" y="721"/>
                      </a:lnTo>
                      <a:lnTo>
                        <a:pt x="994" y="726"/>
                      </a:lnTo>
                      <a:lnTo>
                        <a:pt x="985" y="732"/>
                      </a:lnTo>
                      <a:lnTo>
                        <a:pt x="974" y="737"/>
                      </a:lnTo>
                      <a:lnTo>
                        <a:pt x="965" y="742"/>
                      </a:lnTo>
                      <a:lnTo>
                        <a:pt x="955" y="749"/>
                      </a:lnTo>
                      <a:lnTo>
                        <a:pt x="945" y="755"/>
                      </a:lnTo>
                      <a:lnTo>
                        <a:pt x="936" y="761"/>
                      </a:lnTo>
                      <a:lnTo>
                        <a:pt x="926" y="767"/>
                      </a:lnTo>
                      <a:lnTo>
                        <a:pt x="917" y="774"/>
                      </a:lnTo>
                      <a:lnTo>
                        <a:pt x="908" y="781"/>
                      </a:lnTo>
                      <a:lnTo>
                        <a:pt x="899" y="787"/>
                      </a:lnTo>
                      <a:lnTo>
                        <a:pt x="891" y="795"/>
                      </a:lnTo>
                      <a:lnTo>
                        <a:pt x="882" y="802"/>
                      </a:lnTo>
                      <a:lnTo>
                        <a:pt x="873" y="810"/>
                      </a:lnTo>
                      <a:lnTo>
                        <a:pt x="865" y="817"/>
                      </a:lnTo>
                      <a:lnTo>
                        <a:pt x="856" y="825"/>
                      </a:lnTo>
                      <a:lnTo>
                        <a:pt x="847" y="833"/>
                      </a:lnTo>
                      <a:lnTo>
                        <a:pt x="840" y="840"/>
                      </a:lnTo>
                      <a:lnTo>
                        <a:pt x="832" y="848"/>
                      </a:lnTo>
                      <a:lnTo>
                        <a:pt x="824" y="857"/>
                      </a:lnTo>
                      <a:lnTo>
                        <a:pt x="817" y="865"/>
                      </a:lnTo>
                      <a:lnTo>
                        <a:pt x="809" y="874"/>
                      </a:lnTo>
                      <a:lnTo>
                        <a:pt x="801" y="882"/>
                      </a:lnTo>
                      <a:lnTo>
                        <a:pt x="795" y="891"/>
                      </a:lnTo>
                      <a:lnTo>
                        <a:pt x="787" y="900"/>
                      </a:lnTo>
                      <a:lnTo>
                        <a:pt x="780" y="908"/>
                      </a:lnTo>
                      <a:lnTo>
                        <a:pt x="774" y="918"/>
                      </a:lnTo>
                      <a:lnTo>
                        <a:pt x="767" y="927"/>
                      </a:lnTo>
                      <a:lnTo>
                        <a:pt x="760" y="936"/>
                      </a:lnTo>
                      <a:lnTo>
                        <a:pt x="754" y="946"/>
                      </a:lnTo>
                      <a:lnTo>
                        <a:pt x="749" y="955"/>
                      </a:lnTo>
                      <a:lnTo>
                        <a:pt x="742" y="965"/>
                      </a:lnTo>
                      <a:lnTo>
                        <a:pt x="736" y="975"/>
                      </a:lnTo>
                      <a:lnTo>
                        <a:pt x="731" y="985"/>
                      </a:lnTo>
                      <a:lnTo>
                        <a:pt x="726" y="995"/>
                      </a:lnTo>
                      <a:lnTo>
                        <a:pt x="721" y="1004"/>
                      </a:lnTo>
                      <a:lnTo>
                        <a:pt x="715" y="1015"/>
                      </a:lnTo>
                      <a:lnTo>
                        <a:pt x="710" y="1025"/>
                      </a:lnTo>
                      <a:lnTo>
                        <a:pt x="705" y="1035"/>
                      </a:lnTo>
                      <a:lnTo>
                        <a:pt x="702" y="1046"/>
                      </a:lnTo>
                      <a:lnTo>
                        <a:pt x="697" y="1056"/>
                      </a:lnTo>
                      <a:lnTo>
                        <a:pt x="693" y="1067"/>
                      </a:lnTo>
                      <a:lnTo>
                        <a:pt x="689" y="1077"/>
                      </a:lnTo>
                      <a:lnTo>
                        <a:pt x="685" y="1088"/>
                      </a:lnTo>
                      <a:lnTo>
                        <a:pt x="681" y="1099"/>
                      </a:lnTo>
                      <a:lnTo>
                        <a:pt x="678" y="1110"/>
                      </a:lnTo>
                      <a:lnTo>
                        <a:pt x="675" y="1121"/>
                      </a:lnTo>
                      <a:lnTo>
                        <a:pt x="672" y="1132"/>
                      </a:lnTo>
                      <a:lnTo>
                        <a:pt x="669" y="1143"/>
                      </a:lnTo>
                      <a:lnTo>
                        <a:pt x="666" y="1153"/>
                      </a:lnTo>
                      <a:lnTo>
                        <a:pt x="664" y="1165"/>
                      </a:lnTo>
                      <a:lnTo>
                        <a:pt x="661" y="1176"/>
                      </a:lnTo>
                      <a:lnTo>
                        <a:pt x="659" y="1187"/>
                      </a:lnTo>
                      <a:lnTo>
                        <a:pt x="657" y="1198"/>
                      </a:lnTo>
                      <a:lnTo>
                        <a:pt x="655" y="1210"/>
                      </a:lnTo>
                      <a:lnTo>
                        <a:pt x="654" y="1220"/>
                      </a:lnTo>
                      <a:lnTo>
                        <a:pt x="653" y="1232"/>
                      </a:lnTo>
                      <a:lnTo>
                        <a:pt x="652" y="1243"/>
                      </a:lnTo>
                      <a:lnTo>
                        <a:pt x="651" y="1255"/>
                      </a:lnTo>
                      <a:lnTo>
                        <a:pt x="651" y="1265"/>
                      </a:lnTo>
                      <a:lnTo>
                        <a:pt x="650" y="1277"/>
                      </a:lnTo>
                      <a:lnTo>
                        <a:pt x="650" y="1289"/>
                      </a:lnTo>
                      <a:lnTo>
                        <a:pt x="650" y="1300"/>
                      </a:lnTo>
                      <a:lnTo>
                        <a:pt x="342" y="1208"/>
                      </a:lnTo>
                      <a:lnTo>
                        <a:pt x="0" y="1300"/>
                      </a:lnTo>
                    </a:path>
                  </a:pathLst>
                </a:custGeom>
                <a:noFill/>
                <a:ln w="19050" cap="rnd">
                  <a:solidFill>
                    <a:srgbClr val="002D41"/>
                  </a:solidFill>
                  <a:round/>
                  <a:headEnd/>
                  <a:tailEnd/>
                </a:ln>
              </p:spPr>
              <p:txBody>
                <a:bodyPr lIns="72000" tIns="72000" rIns="72000" bIns="72000" anchor="ctr"/>
                <a:lstStyle/>
                <a:p>
                  <a:pPr>
                    <a:spcBef>
                      <a:spcPts val="800"/>
                    </a:spcBef>
                  </a:pPr>
                  <a:endParaRPr lang="de-DE" sz="800">
                    <a:latin typeface="+mn-lt"/>
                  </a:endParaRPr>
                </a:p>
              </p:txBody>
            </p:sp>
            <p:sp>
              <p:nvSpPr>
                <p:cNvPr id="24" name="Text Box 8">
                  <a:extLst>
                    <a:ext uri="{FF2B5EF4-FFF2-40B4-BE49-F238E27FC236}">
                      <a16:creationId xmlns:a16="http://schemas.microsoft.com/office/drawing/2014/main" id="{6ED64DB3-065B-4BED-AA0A-5EB125FA87BE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 rot="2862967">
                  <a:off x="3145484" y="2335950"/>
                  <a:ext cx="949659" cy="538272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0" tIns="0" rIns="0" bIns="0" anchor="ctr">
                  <a:spAutoFit/>
                </a:bodyPr>
                <a:lstStyle/>
                <a:p>
                  <a:pPr algn="ctr">
                    <a:spcBef>
                      <a:spcPts val="800"/>
                    </a:spcBef>
                    <a:buClrTx/>
                    <a:buSzTx/>
                    <a:buFontTx/>
                    <a:buNone/>
                  </a:pPr>
                  <a:r>
                    <a:rPr lang="de-DE" sz="800">
                      <a:latin typeface="+mn-lt"/>
                    </a:rPr>
                    <a:t>OKR Planung</a:t>
                  </a:r>
                </a:p>
              </p:txBody>
            </p:sp>
          </p:grpSp>
          <p:grpSp>
            <p:nvGrpSpPr>
              <p:cNvPr id="17" name="Gruppieren 24">
                <a:extLst>
                  <a:ext uri="{FF2B5EF4-FFF2-40B4-BE49-F238E27FC236}">
                    <a16:creationId xmlns:a16="http://schemas.microsoft.com/office/drawing/2014/main" id="{E8F7810D-9449-4FBD-AA0D-01CA74BC0E20}"/>
                  </a:ext>
                </a:extLst>
              </p:cNvPr>
              <p:cNvGrpSpPr/>
              <p:nvPr/>
            </p:nvGrpSpPr>
            <p:grpSpPr>
              <a:xfrm>
                <a:off x="2586038" y="3594100"/>
                <a:ext cx="2381250" cy="2525713"/>
                <a:chOff x="2586038" y="3594100"/>
                <a:chExt cx="2381250" cy="2525713"/>
              </a:xfrm>
            </p:grpSpPr>
            <p:sp>
              <p:nvSpPr>
                <p:cNvPr id="21" name="Freeform 4">
                  <a:extLst>
                    <a:ext uri="{FF2B5EF4-FFF2-40B4-BE49-F238E27FC236}">
                      <a16:creationId xmlns:a16="http://schemas.microsoft.com/office/drawing/2014/main" id="{96310EE1-D57C-4A0F-B31D-D996FDD31A35}"/>
                    </a:ext>
                  </a:extLst>
                </p:cNvPr>
                <p:cNvSpPr>
                  <a:spLocks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2586038" y="3594100"/>
                  <a:ext cx="2381250" cy="2525713"/>
                </a:xfrm>
                <a:custGeom>
                  <a:avLst/>
                  <a:gdLst>
                    <a:gd name="T0" fmla="*/ 1253 w 1301"/>
                    <a:gd name="T1" fmla="*/ 1391 h 1393"/>
                    <a:gd name="T2" fmla="*/ 1186 w 1301"/>
                    <a:gd name="T3" fmla="*/ 1387 h 1393"/>
                    <a:gd name="T4" fmla="*/ 1118 w 1301"/>
                    <a:gd name="T5" fmla="*/ 1379 h 1393"/>
                    <a:gd name="T6" fmla="*/ 1051 w 1301"/>
                    <a:gd name="T7" fmla="*/ 1368 h 1393"/>
                    <a:gd name="T8" fmla="*/ 985 w 1301"/>
                    <a:gd name="T9" fmla="*/ 1353 h 1393"/>
                    <a:gd name="T10" fmla="*/ 919 w 1301"/>
                    <a:gd name="T11" fmla="*/ 1335 h 1393"/>
                    <a:gd name="T12" fmla="*/ 855 w 1301"/>
                    <a:gd name="T13" fmla="*/ 1313 h 1393"/>
                    <a:gd name="T14" fmla="*/ 792 w 1301"/>
                    <a:gd name="T15" fmla="*/ 1288 h 1393"/>
                    <a:gd name="T16" fmla="*/ 729 w 1301"/>
                    <a:gd name="T17" fmla="*/ 1260 h 1393"/>
                    <a:gd name="T18" fmla="*/ 669 w 1301"/>
                    <a:gd name="T19" fmla="*/ 1229 h 1393"/>
                    <a:gd name="T20" fmla="*/ 610 w 1301"/>
                    <a:gd name="T21" fmla="*/ 1194 h 1393"/>
                    <a:gd name="T22" fmla="*/ 554 w 1301"/>
                    <a:gd name="T23" fmla="*/ 1157 h 1393"/>
                    <a:gd name="T24" fmla="*/ 499 w 1301"/>
                    <a:gd name="T25" fmla="*/ 1116 h 1393"/>
                    <a:gd name="T26" fmla="*/ 446 w 1301"/>
                    <a:gd name="T27" fmla="*/ 1073 h 1393"/>
                    <a:gd name="T28" fmla="*/ 396 w 1301"/>
                    <a:gd name="T29" fmla="*/ 1027 h 1393"/>
                    <a:gd name="T30" fmla="*/ 349 w 1301"/>
                    <a:gd name="T31" fmla="*/ 978 h 1393"/>
                    <a:gd name="T32" fmla="*/ 304 w 1301"/>
                    <a:gd name="T33" fmla="*/ 927 h 1393"/>
                    <a:gd name="T34" fmla="*/ 261 w 1301"/>
                    <a:gd name="T35" fmla="*/ 874 h 1393"/>
                    <a:gd name="T36" fmla="*/ 222 w 1301"/>
                    <a:gd name="T37" fmla="*/ 819 h 1393"/>
                    <a:gd name="T38" fmla="*/ 185 w 1301"/>
                    <a:gd name="T39" fmla="*/ 761 h 1393"/>
                    <a:gd name="T40" fmla="*/ 152 w 1301"/>
                    <a:gd name="T41" fmla="*/ 702 h 1393"/>
                    <a:gd name="T42" fmla="*/ 122 w 1301"/>
                    <a:gd name="T43" fmla="*/ 641 h 1393"/>
                    <a:gd name="T44" fmla="*/ 94 w 1301"/>
                    <a:gd name="T45" fmla="*/ 579 h 1393"/>
                    <a:gd name="T46" fmla="*/ 71 w 1301"/>
                    <a:gd name="T47" fmla="*/ 515 h 1393"/>
                    <a:gd name="T48" fmla="*/ 50 w 1301"/>
                    <a:gd name="T49" fmla="*/ 450 h 1393"/>
                    <a:gd name="T50" fmla="*/ 33 w 1301"/>
                    <a:gd name="T51" fmla="*/ 384 h 1393"/>
                    <a:gd name="T52" fmla="*/ 19 w 1301"/>
                    <a:gd name="T53" fmla="*/ 318 h 1393"/>
                    <a:gd name="T54" fmla="*/ 9 w 1301"/>
                    <a:gd name="T55" fmla="*/ 250 h 1393"/>
                    <a:gd name="T56" fmla="*/ 3 w 1301"/>
                    <a:gd name="T57" fmla="*/ 182 h 1393"/>
                    <a:gd name="T58" fmla="*/ 0 w 1301"/>
                    <a:gd name="T59" fmla="*/ 114 h 1393"/>
                    <a:gd name="T60" fmla="*/ 650 w 1301"/>
                    <a:gd name="T61" fmla="*/ 92 h 1393"/>
                    <a:gd name="T62" fmla="*/ 651 w 1301"/>
                    <a:gd name="T63" fmla="*/ 126 h 1393"/>
                    <a:gd name="T64" fmla="*/ 653 w 1301"/>
                    <a:gd name="T65" fmla="*/ 160 h 1393"/>
                    <a:gd name="T66" fmla="*/ 657 w 1301"/>
                    <a:gd name="T67" fmla="*/ 194 h 1393"/>
                    <a:gd name="T68" fmla="*/ 664 w 1301"/>
                    <a:gd name="T69" fmla="*/ 227 h 1393"/>
                    <a:gd name="T70" fmla="*/ 672 w 1301"/>
                    <a:gd name="T71" fmla="*/ 260 h 1393"/>
                    <a:gd name="T72" fmla="*/ 681 w 1301"/>
                    <a:gd name="T73" fmla="*/ 293 h 1393"/>
                    <a:gd name="T74" fmla="*/ 693 w 1301"/>
                    <a:gd name="T75" fmla="*/ 324 h 1393"/>
                    <a:gd name="T76" fmla="*/ 705 w 1301"/>
                    <a:gd name="T77" fmla="*/ 356 h 1393"/>
                    <a:gd name="T78" fmla="*/ 721 w 1301"/>
                    <a:gd name="T79" fmla="*/ 387 h 1393"/>
                    <a:gd name="T80" fmla="*/ 736 w 1301"/>
                    <a:gd name="T81" fmla="*/ 416 h 1393"/>
                    <a:gd name="T82" fmla="*/ 754 w 1301"/>
                    <a:gd name="T83" fmla="*/ 445 h 1393"/>
                    <a:gd name="T84" fmla="*/ 774 w 1301"/>
                    <a:gd name="T85" fmla="*/ 474 h 1393"/>
                    <a:gd name="T86" fmla="*/ 795 w 1301"/>
                    <a:gd name="T87" fmla="*/ 501 h 1393"/>
                    <a:gd name="T88" fmla="*/ 817 w 1301"/>
                    <a:gd name="T89" fmla="*/ 527 h 1393"/>
                    <a:gd name="T90" fmla="*/ 840 w 1301"/>
                    <a:gd name="T91" fmla="*/ 551 h 1393"/>
                    <a:gd name="T92" fmla="*/ 865 w 1301"/>
                    <a:gd name="T93" fmla="*/ 575 h 1393"/>
                    <a:gd name="T94" fmla="*/ 891 w 1301"/>
                    <a:gd name="T95" fmla="*/ 597 h 1393"/>
                    <a:gd name="T96" fmla="*/ 917 w 1301"/>
                    <a:gd name="T97" fmla="*/ 617 h 1393"/>
                    <a:gd name="T98" fmla="*/ 945 w 1301"/>
                    <a:gd name="T99" fmla="*/ 637 h 1393"/>
                    <a:gd name="T100" fmla="*/ 974 w 1301"/>
                    <a:gd name="T101" fmla="*/ 655 h 1393"/>
                    <a:gd name="T102" fmla="*/ 1004 w 1301"/>
                    <a:gd name="T103" fmla="*/ 671 h 1393"/>
                    <a:gd name="T104" fmla="*/ 1035 w 1301"/>
                    <a:gd name="T105" fmla="*/ 685 h 1393"/>
                    <a:gd name="T106" fmla="*/ 1066 w 1301"/>
                    <a:gd name="T107" fmla="*/ 699 h 1393"/>
                    <a:gd name="T108" fmla="*/ 1099 w 1301"/>
                    <a:gd name="T109" fmla="*/ 710 h 1393"/>
                    <a:gd name="T110" fmla="*/ 1132 w 1301"/>
                    <a:gd name="T111" fmla="*/ 720 h 1393"/>
                    <a:gd name="T112" fmla="*/ 1164 w 1301"/>
                    <a:gd name="T113" fmla="*/ 727 h 1393"/>
                    <a:gd name="T114" fmla="*/ 1198 w 1301"/>
                    <a:gd name="T115" fmla="*/ 733 h 1393"/>
                    <a:gd name="T116" fmla="*/ 1231 w 1301"/>
                    <a:gd name="T117" fmla="*/ 738 h 1393"/>
                    <a:gd name="T118" fmla="*/ 1265 w 1301"/>
                    <a:gd name="T119" fmla="*/ 741 h 1393"/>
                    <a:gd name="T120" fmla="*/ 1300 w 1301"/>
                    <a:gd name="T121" fmla="*/ 742 h 1393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301"/>
                    <a:gd name="T184" fmla="*/ 0 h 1393"/>
                    <a:gd name="T185" fmla="*/ 1301 w 1301"/>
                    <a:gd name="T186" fmla="*/ 1393 h 1393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301" h="1393">
                      <a:moveTo>
                        <a:pt x="1300" y="1392"/>
                      </a:moveTo>
                      <a:lnTo>
                        <a:pt x="1276" y="1392"/>
                      </a:lnTo>
                      <a:lnTo>
                        <a:pt x="1253" y="1391"/>
                      </a:lnTo>
                      <a:lnTo>
                        <a:pt x="1231" y="1390"/>
                      </a:lnTo>
                      <a:lnTo>
                        <a:pt x="1208" y="1388"/>
                      </a:lnTo>
                      <a:lnTo>
                        <a:pt x="1186" y="1387"/>
                      </a:lnTo>
                      <a:lnTo>
                        <a:pt x="1163" y="1384"/>
                      </a:lnTo>
                      <a:lnTo>
                        <a:pt x="1141" y="1382"/>
                      </a:lnTo>
                      <a:lnTo>
                        <a:pt x="1118" y="1379"/>
                      </a:lnTo>
                      <a:lnTo>
                        <a:pt x="1096" y="1375"/>
                      </a:lnTo>
                      <a:lnTo>
                        <a:pt x="1074" y="1372"/>
                      </a:lnTo>
                      <a:lnTo>
                        <a:pt x="1051" y="1368"/>
                      </a:lnTo>
                      <a:lnTo>
                        <a:pt x="1029" y="1363"/>
                      </a:lnTo>
                      <a:lnTo>
                        <a:pt x="1007" y="1358"/>
                      </a:lnTo>
                      <a:lnTo>
                        <a:pt x="985" y="1353"/>
                      </a:lnTo>
                      <a:lnTo>
                        <a:pt x="963" y="1348"/>
                      </a:lnTo>
                      <a:lnTo>
                        <a:pt x="941" y="1341"/>
                      </a:lnTo>
                      <a:lnTo>
                        <a:pt x="919" y="1335"/>
                      </a:lnTo>
                      <a:lnTo>
                        <a:pt x="897" y="1327"/>
                      </a:lnTo>
                      <a:lnTo>
                        <a:pt x="876" y="1321"/>
                      </a:lnTo>
                      <a:lnTo>
                        <a:pt x="855" y="1313"/>
                      </a:lnTo>
                      <a:lnTo>
                        <a:pt x="834" y="1305"/>
                      </a:lnTo>
                      <a:lnTo>
                        <a:pt x="813" y="1297"/>
                      </a:lnTo>
                      <a:lnTo>
                        <a:pt x="792" y="1288"/>
                      </a:lnTo>
                      <a:lnTo>
                        <a:pt x="771" y="1279"/>
                      </a:lnTo>
                      <a:lnTo>
                        <a:pt x="750" y="1270"/>
                      </a:lnTo>
                      <a:lnTo>
                        <a:pt x="729" y="1260"/>
                      </a:lnTo>
                      <a:lnTo>
                        <a:pt x="709" y="1250"/>
                      </a:lnTo>
                      <a:lnTo>
                        <a:pt x="689" y="1239"/>
                      </a:lnTo>
                      <a:lnTo>
                        <a:pt x="669" y="1229"/>
                      </a:lnTo>
                      <a:lnTo>
                        <a:pt x="650" y="1217"/>
                      </a:lnTo>
                      <a:lnTo>
                        <a:pt x="630" y="1205"/>
                      </a:lnTo>
                      <a:lnTo>
                        <a:pt x="610" y="1194"/>
                      </a:lnTo>
                      <a:lnTo>
                        <a:pt x="591" y="1181"/>
                      </a:lnTo>
                      <a:lnTo>
                        <a:pt x="573" y="1169"/>
                      </a:lnTo>
                      <a:lnTo>
                        <a:pt x="554" y="1157"/>
                      </a:lnTo>
                      <a:lnTo>
                        <a:pt x="535" y="1143"/>
                      </a:lnTo>
                      <a:lnTo>
                        <a:pt x="517" y="1130"/>
                      </a:lnTo>
                      <a:lnTo>
                        <a:pt x="499" y="1116"/>
                      </a:lnTo>
                      <a:lnTo>
                        <a:pt x="482" y="1102"/>
                      </a:lnTo>
                      <a:lnTo>
                        <a:pt x="463" y="1087"/>
                      </a:lnTo>
                      <a:lnTo>
                        <a:pt x="446" y="1073"/>
                      </a:lnTo>
                      <a:lnTo>
                        <a:pt x="430" y="1058"/>
                      </a:lnTo>
                      <a:lnTo>
                        <a:pt x="413" y="1042"/>
                      </a:lnTo>
                      <a:lnTo>
                        <a:pt x="396" y="1027"/>
                      </a:lnTo>
                      <a:lnTo>
                        <a:pt x="380" y="1011"/>
                      </a:lnTo>
                      <a:lnTo>
                        <a:pt x="365" y="994"/>
                      </a:lnTo>
                      <a:lnTo>
                        <a:pt x="349" y="978"/>
                      </a:lnTo>
                      <a:lnTo>
                        <a:pt x="334" y="962"/>
                      </a:lnTo>
                      <a:lnTo>
                        <a:pt x="319" y="944"/>
                      </a:lnTo>
                      <a:lnTo>
                        <a:pt x="304" y="927"/>
                      </a:lnTo>
                      <a:lnTo>
                        <a:pt x="289" y="910"/>
                      </a:lnTo>
                      <a:lnTo>
                        <a:pt x="275" y="892"/>
                      </a:lnTo>
                      <a:lnTo>
                        <a:pt x="261" y="874"/>
                      </a:lnTo>
                      <a:lnTo>
                        <a:pt x="248" y="856"/>
                      </a:lnTo>
                      <a:lnTo>
                        <a:pt x="235" y="837"/>
                      </a:lnTo>
                      <a:lnTo>
                        <a:pt x="222" y="819"/>
                      </a:lnTo>
                      <a:lnTo>
                        <a:pt x="209" y="799"/>
                      </a:lnTo>
                      <a:lnTo>
                        <a:pt x="197" y="780"/>
                      </a:lnTo>
                      <a:lnTo>
                        <a:pt x="185" y="761"/>
                      </a:lnTo>
                      <a:lnTo>
                        <a:pt x="174" y="742"/>
                      </a:lnTo>
                      <a:lnTo>
                        <a:pt x="163" y="722"/>
                      </a:lnTo>
                      <a:lnTo>
                        <a:pt x="152" y="702"/>
                      </a:lnTo>
                      <a:lnTo>
                        <a:pt x="141" y="681"/>
                      </a:lnTo>
                      <a:lnTo>
                        <a:pt x="131" y="661"/>
                      </a:lnTo>
                      <a:lnTo>
                        <a:pt x="122" y="641"/>
                      </a:lnTo>
                      <a:lnTo>
                        <a:pt x="112" y="620"/>
                      </a:lnTo>
                      <a:lnTo>
                        <a:pt x="103" y="600"/>
                      </a:lnTo>
                      <a:lnTo>
                        <a:pt x="94" y="579"/>
                      </a:lnTo>
                      <a:lnTo>
                        <a:pt x="86" y="558"/>
                      </a:lnTo>
                      <a:lnTo>
                        <a:pt x="78" y="536"/>
                      </a:lnTo>
                      <a:lnTo>
                        <a:pt x="71" y="515"/>
                      </a:lnTo>
                      <a:lnTo>
                        <a:pt x="63" y="493"/>
                      </a:lnTo>
                      <a:lnTo>
                        <a:pt x="57" y="472"/>
                      </a:lnTo>
                      <a:lnTo>
                        <a:pt x="50" y="450"/>
                      </a:lnTo>
                      <a:lnTo>
                        <a:pt x="44" y="428"/>
                      </a:lnTo>
                      <a:lnTo>
                        <a:pt x="38" y="406"/>
                      </a:lnTo>
                      <a:lnTo>
                        <a:pt x="33" y="384"/>
                      </a:lnTo>
                      <a:lnTo>
                        <a:pt x="28" y="362"/>
                      </a:lnTo>
                      <a:lnTo>
                        <a:pt x="24" y="340"/>
                      </a:lnTo>
                      <a:lnTo>
                        <a:pt x="19" y="318"/>
                      </a:lnTo>
                      <a:lnTo>
                        <a:pt x="15" y="296"/>
                      </a:lnTo>
                      <a:lnTo>
                        <a:pt x="12" y="272"/>
                      </a:lnTo>
                      <a:lnTo>
                        <a:pt x="9" y="250"/>
                      </a:lnTo>
                      <a:lnTo>
                        <a:pt x="7" y="227"/>
                      </a:lnTo>
                      <a:lnTo>
                        <a:pt x="5" y="205"/>
                      </a:lnTo>
                      <a:lnTo>
                        <a:pt x="3" y="182"/>
                      </a:lnTo>
                      <a:lnTo>
                        <a:pt x="2" y="160"/>
                      </a:lnTo>
                      <a:lnTo>
                        <a:pt x="1" y="137"/>
                      </a:lnTo>
                      <a:lnTo>
                        <a:pt x="0" y="114"/>
                      </a:lnTo>
                      <a:lnTo>
                        <a:pt x="0" y="92"/>
                      </a:lnTo>
                      <a:lnTo>
                        <a:pt x="342" y="0"/>
                      </a:lnTo>
                      <a:lnTo>
                        <a:pt x="650" y="92"/>
                      </a:lnTo>
                      <a:lnTo>
                        <a:pt x="650" y="104"/>
                      </a:lnTo>
                      <a:lnTo>
                        <a:pt x="650" y="114"/>
                      </a:lnTo>
                      <a:lnTo>
                        <a:pt x="651" y="126"/>
                      </a:lnTo>
                      <a:lnTo>
                        <a:pt x="651" y="137"/>
                      </a:lnTo>
                      <a:lnTo>
                        <a:pt x="652" y="149"/>
                      </a:lnTo>
                      <a:lnTo>
                        <a:pt x="653" y="160"/>
                      </a:lnTo>
                      <a:lnTo>
                        <a:pt x="654" y="171"/>
                      </a:lnTo>
                      <a:lnTo>
                        <a:pt x="655" y="182"/>
                      </a:lnTo>
                      <a:lnTo>
                        <a:pt x="657" y="194"/>
                      </a:lnTo>
                      <a:lnTo>
                        <a:pt x="659" y="204"/>
                      </a:lnTo>
                      <a:lnTo>
                        <a:pt x="661" y="216"/>
                      </a:lnTo>
                      <a:lnTo>
                        <a:pt x="664" y="227"/>
                      </a:lnTo>
                      <a:lnTo>
                        <a:pt x="666" y="238"/>
                      </a:lnTo>
                      <a:lnTo>
                        <a:pt x="669" y="249"/>
                      </a:lnTo>
                      <a:lnTo>
                        <a:pt x="672" y="260"/>
                      </a:lnTo>
                      <a:lnTo>
                        <a:pt x="675" y="271"/>
                      </a:lnTo>
                      <a:lnTo>
                        <a:pt x="678" y="282"/>
                      </a:lnTo>
                      <a:lnTo>
                        <a:pt x="681" y="293"/>
                      </a:lnTo>
                      <a:lnTo>
                        <a:pt x="685" y="303"/>
                      </a:lnTo>
                      <a:lnTo>
                        <a:pt x="689" y="314"/>
                      </a:lnTo>
                      <a:lnTo>
                        <a:pt x="693" y="324"/>
                      </a:lnTo>
                      <a:lnTo>
                        <a:pt x="697" y="335"/>
                      </a:lnTo>
                      <a:lnTo>
                        <a:pt x="702" y="345"/>
                      </a:lnTo>
                      <a:lnTo>
                        <a:pt x="705" y="356"/>
                      </a:lnTo>
                      <a:lnTo>
                        <a:pt x="710" y="367"/>
                      </a:lnTo>
                      <a:lnTo>
                        <a:pt x="715" y="377"/>
                      </a:lnTo>
                      <a:lnTo>
                        <a:pt x="721" y="387"/>
                      </a:lnTo>
                      <a:lnTo>
                        <a:pt x="726" y="397"/>
                      </a:lnTo>
                      <a:lnTo>
                        <a:pt x="731" y="407"/>
                      </a:lnTo>
                      <a:lnTo>
                        <a:pt x="736" y="416"/>
                      </a:lnTo>
                      <a:lnTo>
                        <a:pt x="742" y="426"/>
                      </a:lnTo>
                      <a:lnTo>
                        <a:pt x="749" y="437"/>
                      </a:lnTo>
                      <a:lnTo>
                        <a:pt x="754" y="445"/>
                      </a:lnTo>
                      <a:lnTo>
                        <a:pt x="760" y="455"/>
                      </a:lnTo>
                      <a:lnTo>
                        <a:pt x="767" y="464"/>
                      </a:lnTo>
                      <a:lnTo>
                        <a:pt x="774" y="474"/>
                      </a:lnTo>
                      <a:lnTo>
                        <a:pt x="780" y="483"/>
                      </a:lnTo>
                      <a:lnTo>
                        <a:pt x="787" y="492"/>
                      </a:lnTo>
                      <a:lnTo>
                        <a:pt x="795" y="501"/>
                      </a:lnTo>
                      <a:lnTo>
                        <a:pt x="801" y="510"/>
                      </a:lnTo>
                      <a:lnTo>
                        <a:pt x="809" y="518"/>
                      </a:lnTo>
                      <a:lnTo>
                        <a:pt x="817" y="527"/>
                      </a:lnTo>
                      <a:lnTo>
                        <a:pt x="824" y="535"/>
                      </a:lnTo>
                      <a:lnTo>
                        <a:pt x="832" y="543"/>
                      </a:lnTo>
                      <a:lnTo>
                        <a:pt x="840" y="551"/>
                      </a:lnTo>
                      <a:lnTo>
                        <a:pt x="847" y="559"/>
                      </a:lnTo>
                      <a:lnTo>
                        <a:pt x="856" y="567"/>
                      </a:lnTo>
                      <a:lnTo>
                        <a:pt x="865" y="575"/>
                      </a:lnTo>
                      <a:lnTo>
                        <a:pt x="873" y="583"/>
                      </a:lnTo>
                      <a:lnTo>
                        <a:pt x="882" y="589"/>
                      </a:lnTo>
                      <a:lnTo>
                        <a:pt x="891" y="597"/>
                      </a:lnTo>
                      <a:lnTo>
                        <a:pt x="899" y="604"/>
                      </a:lnTo>
                      <a:lnTo>
                        <a:pt x="908" y="610"/>
                      </a:lnTo>
                      <a:lnTo>
                        <a:pt x="917" y="617"/>
                      </a:lnTo>
                      <a:lnTo>
                        <a:pt x="926" y="624"/>
                      </a:lnTo>
                      <a:lnTo>
                        <a:pt x="936" y="631"/>
                      </a:lnTo>
                      <a:lnTo>
                        <a:pt x="945" y="637"/>
                      </a:lnTo>
                      <a:lnTo>
                        <a:pt x="955" y="643"/>
                      </a:lnTo>
                      <a:lnTo>
                        <a:pt x="965" y="649"/>
                      </a:lnTo>
                      <a:lnTo>
                        <a:pt x="974" y="655"/>
                      </a:lnTo>
                      <a:lnTo>
                        <a:pt x="985" y="660"/>
                      </a:lnTo>
                      <a:lnTo>
                        <a:pt x="994" y="666"/>
                      </a:lnTo>
                      <a:lnTo>
                        <a:pt x="1004" y="671"/>
                      </a:lnTo>
                      <a:lnTo>
                        <a:pt x="1014" y="676"/>
                      </a:lnTo>
                      <a:lnTo>
                        <a:pt x="1025" y="680"/>
                      </a:lnTo>
                      <a:lnTo>
                        <a:pt x="1035" y="685"/>
                      </a:lnTo>
                      <a:lnTo>
                        <a:pt x="1045" y="690"/>
                      </a:lnTo>
                      <a:lnTo>
                        <a:pt x="1056" y="694"/>
                      </a:lnTo>
                      <a:lnTo>
                        <a:pt x="1066" y="699"/>
                      </a:lnTo>
                      <a:lnTo>
                        <a:pt x="1077" y="702"/>
                      </a:lnTo>
                      <a:lnTo>
                        <a:pt x="1087" y="706"/>
                      </a:lnTo>
                      <a:lnTo>
                        <a:pt x="1099" y="710"/>
                      </a:lnTo>
                      <a:lnTo>
                        <a:pt x="1109" y="713"/>
                      </a:lnTo>
                      <a:lnTo>
                        <a:pt x="1120" y="717"/>
                      </a:lnTo>
                      <a:lnTo>
                        <a:pt x="1132" y="720"/>
                      </a:lnTo>
                      <a:lnTo>
                        <a:pt x="1142" y="723"/>
                      </a:lnTo>
                      <a:lnTo>
                        <a:pt x="1153" y="725"/>
                      </a:lnTo>
                      <a:lnTo>
                        <a:pt x="1164" y="727"/>
                      </a:lnTo>
                      <a:lnTo>
                        <a:pt x="1176" y="729"/>
                      </a:lnTo>
                      <a:lnTo>
                        <a:pt x="1186" y="731"/>
                      </a:lnTo>
                      <a:lnTo>
                        <a:pt x="1198" y="733"/>
                      </a:lnTo>
                      <a:lnTo>
                        <a:pt x="1209" y="735"/>
                      </a:lnTo>
                      <a:lnTo>
                        <a:pt x="1220" y="737"/>
                      </a:lnTo>
                      <a:lnTo>
                        <a:pt x="1231" y="738"/>
                      </a:lnTo>
                      <a:lnTo>
                        <a:pt x="1243" y="739"/>
                      </a:lnTo>
                      <a:lnTo>
                        <a:pt x="1254" y="740"/>
                      </a:lnTo>
                      <a:lnTo>
                        <a:pt x="1265" y="741"/>
                      </a:lnTo>
                      <a:lnTo>
                        <a:pt x="1276" y="741"/>
                      </a:lnTo>
                      <a:lnTo>
                        <a:pt x="1288" y="742"/>
                      </a:lnTo>
                      <a:lnTo>
                        <a:pt x="1300" y="742"/>
                      </a:lnTo>
                      <a:lnTo>
                        <a:pt x="1206" y="1056"/>
                      </a:lnTo>
                      <a:lnTo>
                        <a:pt x="1300" y="1392"/>
                      </a:lnTo>
                    </a:path>
                  </a:pathLst>
                </a:custGeom>
                <a:noFill/>
                <a:ln w="19050" cap="rnd">
                  <a:solidFill>
                    <a:srgbClr val="002D41"/>
                  </a:solidFill>
                  <a:round/>
                  <a:headEnd/>
                  <a:tailEnd/>
                </a:ln>
              </p:spPr>
              <p:txBody>
                <a:bodyPr lIns="72000" tIns="72000" rIns="72000" bIns="72000" anchor="ctr"/>
                <a:lstStyle/>
                <a:p>
                  <a:pPr>
                    <a:spcBef>
                      <a:spcPts val="800"/>
                    </a:spcBef>
                  </a:pPr>
                  <a:endParaRPr lang="de-DE" sz="800">
                    <a:latin typeface="+mn-lt"/>
                  </a:endParaRPr>
                </a:p>
              </p:txBody>
            </p:sp>
            <p:sp>
              <p:nvSpPr>
                <p:cNvPr id="22" name="Text Box 9">
                  <a:extLst>
                    <a:ext uri="{FF2B5EF4-FFF2-40B4-BE49-F238E27FC236}">
                      <a16:creationId xmlns:a16="http://schemas.microsoft.com/office/drawing/2014/main" id="{F479781A-7DAB-422D-BEF1-114A947A2D79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4"/>
                  </p:custDataLst>
                </p:nvPr>
              </p:nvSpPr>
              <p:spPr bwMode="auto">
                <a:xfrm rot="2862967">
                  <a:off x="3149025" y="4675054"/>
                  <a:ext cx="927996" cy="538272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0" tIns="0" rIns="0" bIns="0" anchor="ctr">
                  <a:spAutoFit/>
                </a:bodyPr>
                <a:lstStyle/>
                <a:p>
                  <a:pPr algn="ctr">
                    <a:spcBef>
                      <a:spcPts val="800"/>
                    </a:spcBef>
                    <a:buClrTx/>
                    <a:buSzTx/>
                    <a:buFontTx/>
                    <a:buNone/>
                  </a:pPr>
                  <a:r>
                    <a:rPr lang="de-DE" sz="800">
                      <a:latin typeface="+mn-lt"/>
                    </a:rPr>
                    <a:t>Retro-spektive</a:t>
                  </a:r>
                </a:p>
              </p:txBody>
            </p:sp>
          </p:grpSp>
          <p:grpSp>
            <p:nvGrpSpPr>
              <p:cNvPr id="18" name="Gruppieren 13">
                <a:extLst>
                  <a:ext uri="{FF2B5EF4-FFF2-40B4-BE49-F238E27FC236}">
                    <a16:creationId xmlns:a16="http://schemas.microsoft.com/office/drawing/2014/main" id="{B305148B-DA07-4A2D-8411-34AA4410ADBC}"/>
                  </a:ext>
                </a:extLst>
              </p:cNvPr>
              <p:cNvGrpSpPr/>
              <p:nvPr/>
            </p:nvGrpSpPr>
            <p:grpSpPr>
              <a:xfrm>
                <a:off x="4792663" y="3760788"/>
                <a:ext cx="2551112" cy="2359025"/>
                <a:chOff x="4792663" y="3760788"/>
                <a:chExt cx="2551112" cy="2359025"/>
              </a:xfrm>
            </p:grpSpPr>
            <p:sp>
              <p:nvSpPr>
                <p:cNvPr id="19" name="Freeform 6">
                  <a:extLst>
                    <a:ext uri="{FF2B5EF4-FFF2-40B4-BE49-F238E27FC236}">
                      <a16:creationId xmlns:a16="http://schemas.microsoft.com/office/drawing/2014/main" id="{586A4125-09E4-4352-9875-2F5B327A4F4D}"/>
                    </a:ext>
                  </a:extLst>
                </p:cNvPr>
                <p:cNvSpPr>
                  <a:spLocks/>
                </p:cNvSpPr>
                <p:nvPr>
                  <p:custDataLst>
                    <p:tags r:id="rId1"/>
                  </p:custDataLst>
                </p:nvPr>
              </p:nvSpPr>
              <p:spPr bwMode="auto">
                <a:xfrm>
                  <a:off x="4792663" y="3760788"/>
                  <a:ext cx="2551112" cy="2359025"/>
                </a:xfrm>
                <a:custGeom>
                  <a:avLst/>
                  <a:gdLst>
                    <a:gd name="T0" fmla="*/ 1392 w 1394"/>
                    <a:gd name="T1" fmla="*/ 45 h 1301"/>
                    <a:gd name="T2" fmla="*/ 1388 w 1394"/>
                    <a:gd name="T3" fmla="*/ 113 h 1301"/>
                    <a:gd name="T4" fmla="*/ 1381 w 1394"/>
                    <a:gd name="T5" fmla="*/ 180 h 1301"/>
                    <a:gd name="T6" fmla="*/ 1369 w 1394"/>
                    <a:gd name="T7" fmla="*/ 248 h 1301"/>
                    <a:gd name="T8" fmla="*/ 1355 w 1394"/>
                    <a:gd name="T9" fmla="*/ 314 h 1301"/>
                    <a:gd name="T10" fmla="*/ 1336 w 1394"/>
                    <a:gd name="T11" fmla="*/ 380 h 1301"/>
                    <a:gd name="T12" fmla="*/ 1314 w 1394"/>
                    <a:gd name="T13" fmla="*/ 444 h 1301"/>
                    <a:gd name="T14" fmla="*/ 1289 w 1394"/>
                    <a:gd name="T15" fmla="*/ 508 h 1301"/>
                    <a:gd name="T16" fmla="*/ 1262 w 1394"/>
                    <a:gd name="T17" fmla="*/ 569 h 1301"/>
                    <a:gd name="T18" fmla="*/ 1230 w 1394"/>
                    <a:gd name="T19" fmla="*/ 630 h 1301"/>
                    <a:gd name="T20" fmla="*/ 1195 w 1394"/>
                    <a:gd name="T21" fmla="*/ 688 h 1301"/>
                    <a:gd name="T22" fmla="*/ 1158 w 1394"/>
                    <a:gd name="T23" fmla="*/ 745 h 1301"/>
                    <a:gd name="T24" fmla="*/ 1118 w 1394"/>
                    <a:gd name="T25" fmla="*/ 800 h 1301"/>
                    <a:gd name="T26" fmla="*/ 1074 w 1394"/>
                    <a:gd name="T27" fmla="*/ 852 h 1301"/>
                    <a:gd name="T28" fmla="*/ 1028 w 1394"/>
                    <a:gd name="T29" fmla="*/ 902 h 1301"/>
                    <a:gd name="T30" fmla="*/ 979 w 1394"/>
                    <a:gd name="T31" fmla="*/ 950 h 1301"/>
                    <a:gd name="T32" fmla="*/ 929 w 1394"/>
                    <a:gd name="T33" fmla="*/ 995 h 1301"/>
                    <a:gd name="T34" fmla="*/ 876 w 1394"/>
                    <a:gd name="T35" fmla="*/ 1038 h 1301"/>
                    <a:gd name="T36" fmla="*/ 820 w 1394"/>
                    <a:gd name="T37" fmla="*/ 1077 h 1301"/>
                    <a:gd name="T38" fmla="*/ 763 w 1394"/>
                    <a:gd name="T39" fmla="*/ 1113 h 1301"/>
                    <a:gd name="T40" fmla="*/ 703 w 1394"/>
                    <a:gd name="T41" fmla="*/ 1147 h 1301"/>
                    <a:gd name="T42" fmla="*/ 643 w 1394"/>
                    <a:gd name="T43" fmla="*/ 1178 h 1301"/>
                    <a:gd name="T44" fmla="*/ 580 w 1394"/>
                    <a:gd name="T45" fmla="*/ 1205 h 1301"/>
                    <a:gd name="T46" fmla="*/ 517 w 1394"/>
                    <a:gd name="T47" fmla="*/ 1229 h 1301"/>
                    <a:gd name="T48" fmla="*/ 452 w 1394"/>
                    <a:gd name="T49" fmla="*/ 1249 h 1301"/>
                    <a:gd name="T50" fmla="*/ 385 w 1394"/>
                    <a:gd name="T51" fmla="*/ 1266 h 1301"/>
                    <a:gd name="T52" fmla="*/ 319 w 1394"/>
                    <a:gd name="T53" fmla="*/ 1280 h 1301"/>
                    <a:gd name="T54" fmla="*/ 252 w 1394"/>
                    <a:gd name="T55" fmla="*/ 1290 h 1301"/>
                    <a:gd name="T56" fmla="*/ 184 w 1394"/>
                    <a:gd name="T57" fmla="*/ 1296 h 1301"/>
                    <a:gd name="T58" fmla="*/ 116 w 1394"/>
                    <a:gd name="T59" fmla="*/ 1300 h 1301"/>
                    <a:gd name="T60" fmla="*/ 94 w 1394"/>
                    <a:gd name="T61" fmla="*/ 650 h 1301"/>
                    <a:gd name="T62" fmla="*/ 127 w 1394"/>
                    <a:gd name="T63" fmla="*/ 649 h 1301"/>
                    <a:gd name="T64" fmla="*/ 162 w 1394"/>
                    <a:gd name="T65" fmla="*/ 646 h 1301"/>
                    <a:gd name="T66" fmla="*/ 195 w 1394"/>
                    <a:gd name="T67" fmla="*/ 641 h 1301"/>
                    <a:gd name="T68" fmla="*/ 229 w 1394"/>
                    <a:gd name="T69" fmla="*/ 635 h 1301"/>
                    <a:gd name="T70" fmla="*/ 261 w 1394"/>
                    <a:gd name="T71" fmla="*/ 628 h 1301"/>
                    <a:gd name="T72" fmla="*/ 294 w 1394"/>
                    <a:gd name="T73" fmla="*/ 618 h 1301"/>
                    <a:gd name="T74" fmla="*/ 326 w 1394"/>
                    <a:gd name="T75" fmla="*/ 607 h 1301"/>
                    <a:gd name="T76" fmla="*/ 357 w 1394"/>
                    <a:gd name="T77" fmla="*/ 593 h 1301"/>
                    <a:gd name="T78" fmla="*/ 388 w 1394"/>
                    <a:gd name="T79" fmla="*/ 579 h 1301"/>
                    <a:gd name="T80" fmla="*/ 418 w 1394"/>
                    <a:gd name="T81" fmla="*/ 563 h 1301"/>
                    <a:gd name="T82" fmla="*/ 447 w 1394"/>
                    <a:gd name="T83" fmla="*/ 545 h 1301"/>
                    <a:gd name="T84" fmla="*/ 476 w 1394"/>
                    <a:gd name="T85" fmla="*/ 525 h 1301"/>
                    <a:gd name="T86" fmla="*/ 502 w 1394"/>
                    <a:gd name="T87" fmla="*/ 505 h 1301"/>
                    <a:gd name="T88" fmla="*/ 528 w 1394"/>
                    <a:gd name="T89" fmla="*/ 483 h 1301"/>
                    <a:gd name="T90" fmla="*/ 552 w 1394"/>
                    <a:gd name="T91" fmla="*/ 459 h 1301"/>
                    <a:gd name="T92" fmla="*/ 576 w 1394"/>
                    <a:gd name="T93" fmla="*/ 435 h 1301"/>
                    <a:gd name="T94" fmla="*/ 598 w 1394"/>
                    <a:gd name="T95" fmla="*/ 409 h 1301"/>
                    <a:gd name="T96" fmla="*/ 619 w 1394"/>
                    <a:gd name="T97" fmla="*/ 382 h 1301"/>
                    <a:gd name="T98" fmla="*/ 639 w 1394"/>
                    <a:gd name="T99" fmla="*/ 353 h 1301"/>
                    <a:gd name="T100" fmla="*/ 656 w 1394"/>
                    <a:gd name="T101" fmla="*/ 324 h 1301"/>
                    <a:gd name="T102" fmla="*/ 672 w 1394"/>
                    <a:gd name="T103" fmla="*/ 295 h 1301"/>
                    <a:gd name="T104" fmla="*/ 687 w 1394"/>
                    <a:gd name="T105" fmla="*/ 264 h 1301"/>
                    <a:gd name="T106" fmla="*/ 700 w 1394"/>
                    <a:gd name="T107" fmla="*/ 232 h 1301"/>
                    <a:gd name="T108" fmla="*/ 712 w 1394"/>
                    <a:gd name="T109" fmla="*/ 201 h 1301"/>
                    <a:gd name="T110" fmla="*/ 721 w 1394"/>
                    <a:gd name="T111" fmla="*/ 168 h 1301"/>
                    <a:gd name="T112" fmla="*/ 729 w 1394"/>
                    <a:gd name="T113" fmla="*/ 135 h 1301"/>
                    <a:gd name="T114" fmla="*/ 735 w 1394"/>
                    <a:gd name="T115" fmla="*/ 102 h 1301"/>
                    <a:gd name="T116" fmla="*/ 739 w 1394"/>
                    <a:gd name="T117" fmla="*/ 68 h 1301"/>
                    <a:gd name="T118" fmla="*/ 742 w 1394"/>
                    <a:gd name="T119" fmla="*/ 34 h 1301"/>
                    <a:gd name="T120" fmla="*/ 743 w 1394"/>
                    <a:gd name="T121" fmla="*/ 0 h 1301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394"/>
                    <a:gd name="T184" fmla="*/ 0 h 1301"/>
                    <a:gd name="T185" fmla="*/ 1394 w 1394"/>
                    <a:gd name="T186" fmla="*/ 1301 h 1301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394" h="1301">
                      <a:moveTo>
                        <a:pt x="1393" y="0"/>
                      </a:moveTo>
                      <a:lnTo>
                        <a:pt x="1393" y="22"/>
                      </a:lnTo>
                      <a:lnTo>
                        <a:pt x="1392" y="45"/>
                      </a:lnTo>
                      <a:lnTo>
                        <a:pt x="1391" y="68"/>
                      </a:lnTo>
                      <a:lnTo>
                        <a:pt x="1389" y="90"/>
                      </a:lnTo>
                      <a:lnTo>
                        <a:pt x="1388" y="113"/>
                      </a:lnTo>
                      <a:lnTo>
                        <a:pt x="1385" y="135"/>
                      </a:lnTo>
                      <a:lnTo>
                        <a:pt x="1384" y="158"/>
                      </a:lnTo>
                      <a:lnTo>
                        <a:pt x="1381" y="180"/>
                      </a:lnTo>
                      <a:lnTo>
                        <a:pt x="1377" y="204"/>
                      </a:lnTo>
                      <a:lnTo>
                        <a:pt x="1373" y="226"/>
                      </a:lnTo>
                      <a:lnTo>
                        <a:pt x="1369" y="248"/>
                      </a:lnTo>
                      <a:lnTo>
                        <a:pt x="1364" y="270"/>
                      </a:lnTo>
                      <a:lnTo>
                        <a:pt x="1360" y="292"/>
                      </a:lnTo>
                      <a:lnTo>
                        <a:pt x="1355" y="314"/>
                      </a:lnTo>
                      <a:lnTo>
                        <a:pt x="1349" y="336"/>
                      </a:lnTo>
                      <a:lnTo>
                        <a:pt x="1342" y="358"/>
                      </a:lnTo>
                      <a:lnTo>
                        <a:pt x="1336" y="380"/>
                      </a:lnTo>
                      <a:lnTo>
                        <a:pt x="1329" y="401"/>
                      </a:lnTo>
                      <a:lnTo>
                        <a:pt x="1322" y="423"/>
                      </a:lnTo>
                      <a:lnTo>
                        <a:pt x="1314" y="444"/>
                      </a:lnTo>
                      <a:lnTo>
                        <a:pt x="1307" y="466"/>
                      </a:lnTo>
                      <a:lnTo>
                        <a:pt x="1298" y="487"/>
                      </a:lnTo>
                      <a:lnTo>
                        <a:pt x="1289" y="508"/>
                      </a:lnTo>
                      <a:lnTo>
                        <a:pt x="1281" y="528"/>
                      </a:lnTo>
                      <a:lnTo>
                        <a:pt x="1271" y="549"/>
                      </a:lnTo>
                      <a:lnTo>
                        <a:pt x="1262" y="569"/>
                      </a:lnTo>
                      <a:lnTo>
                        <a:pt x="1251" y="589"/>
                      </a:lnTo>
                      <a:lnTo>
                        <a:pt x="1240" y="610"/>
                      </a:lnTo>
                      <a:lnTo>
                        <a:pt x="1230" y="630"/>
                      </a:lnTo>
                      <a:lnTo>
                        <a:pt x="1218" y="650"/>
                      </a:lnTo>
                      <a:lnTo>
                        <a:pt x="1207" y="669"/>
                      </a:lnTo>
                      <a:lnTo>
                        <a:pt x="1195" y="688"/>
                      </a:lnTo>
                      <a:lnTo>
                        <a:pt x="1183" y="707"/>
                      </a:lnTo>
                      <a:lnTo>
                        <a:pt x="1170" y="727"/>
                      </a:lnTo>
                      <a:lnTo>
                        <a:pt x="1158" y="745"/>
                      </a:lnTo>
                      <a:lnTo>
                        <a:pt x="1145" y="764"/>
                      </a:lnTo>
                      <a:lnTo>
                        <a:pt x="1131" y="782"/>
                      </a:lnTo>
                      <a:lnTo>
                        <a:pt x="1118" y="800"/>
                      </a:lnTo>
                      <a:lnTo>
                        <a:pt x="1103" y="818"/>
                      </a:lnTo>
                      <a:lnTo>
                        <a:pt x="1089" y="835"/>
                      </a:lnTo>
                      <a:lnTo>
                        <a:pt x="1074" y="852"/>
                      </a:lnTo>
                      <a:lnTo>
                        <a:pt x="1059" y="870"/>
                      </a:lnTo>
                      <a:lnTo>
                        <a:pt x="1044" y="886"/>
                      </a:lnTo>
                      <a:lnTo>
                        <a:pt x="1028" y="902"/>
                      </a:lnTo>
                      <a:lnTo>
                        <a:pt x="1012" y="919"/>
                      </a:lnTo>
                      <a:lnTo>
                        <a:pt x="996" y="935"/>
                      </a:lnTo>
                      <a:lnTo>
                        <a:pt x="979" y="950"/>
                      </a:lnTo>
                      <a:lnTo>
                        <a:pt x="963" y="966"/>
                      </a:lnTo>
                      <a:lnTo>
                        <a:pt x="946" y="981"/>
                      </a:lnTo>
                      <a:lnTo>
                        <a:pt x="929" y="995"/>
                      </a:lnTo>
                      <a:lnTo>
                        <a:pt x="911" y="1010"/>
                      </a:lnTo>
                      <a:lnTo>
                        <a:pt x="893" y="1024"/>
                      </a:lnTo>
                      <a:lnTo>
                        <a:pt x="876" y="1038"/>
                      </a:lnTo>
                      <a:lnTo>
                        <a:pt x="858" y="1051"/>
                      </a:lnTo>
                      <a:lnTo>
                        <a:pt x="838" y="1065"/>
                      </a:lnTo>
                      <a:lnTo>
                        <a:pt x="820" y="1077"/>
                      </a:lnTo>
                      <a:lnTo>
                        <a:pt x="801" y="1089"/>
                      </a:lnTo>
                      <a:lnTo>
                        <a:pt x="782" y="1102"/>
                      </a:lnTo>
                      <a:lnTo>
                        <a:pt x="763" y="1113"/>
                      </a:lnTo>
                      <a:lnTo>
                        <a:pt x="743" y="1125"/>
                      </a:lnTo>
                      <a:lnTo>
                        <a:pt x="723" y="1137"/>
                      </a:lnTo>
                      <a:lnTo>
                        <a:pt x="703" y="1147"/>
                      </a:lnTo>
                      <a:lnTo>
                        <a:pt x="683" y="1158"/>
                      </a:lnTo>
                      <a:lnTo>
                        <a:pt x="663" y="1168"/>
                      </a:lnTo>
                      <a:lnTo>
                        <a:pt x="643" y="1178"/>
                      </a:lnTo>
                      <a:lnTo>
                        <a:pt x="621" y="1187"/>
                      </a:lnTo>
                      <a:lnTo>
                        <a:pt x="601" y="1196"/>
                      </a:lnTo>
                      <a:lnTo>
                        <a:pt x="580" y="1205"/>
                      </a:lnTo>
                      <a:lnTo>
                        <a:pt x="559" y="1213"/>
                      </a:lnTo>
                      <a:lnTo>
                        <a:pt x="538" y="1221"/>
                      </a:lnTo>
                      <a:lnTo>
                        <a:pt x="517" y="1229"/>
                      </a:lnTo>
                      <a:lnTo>
                        <a:pt x="495" y="1235"/>
                      </a:lnTo>
                      <a:lnTo>
                        <a:pt x="474" y="1243"/>
                      </a:lnTo>
                      <a:lnTo>
                        <a:pt x="452" y="1249"/>
                      </a:lnTo>
                      <a:lnTo>
                        <a:pt x="429" y="1256"/>
                      </a:lnTo>
                      <a:lnTo>
                        <a:pt x="407" y="1261"/>
                      </a:lnTo>
                      <a:lnTo>
                        <a:pt x="385" y="1266"/>
                      </a:lnTo>
                      <a:lnTo>
                        <a:pt x="363" y="1271"/>
                      </a:lnTo>
                      <a:lnTo>
                        <a:pt x="341" y="1276"/>
                      </a:lnTo>
                      <a:lnTo>
                        <a:pt x="319" y="1280"/>
                      </a:lnTo>
                      <a:lnTo>
                        <a:pt x="297" y="1283"/>
                      </a:lnTo>
                      <a:lnTo>
                        <a:pt x="274" y="1287"/>
                      </a:lnTo>
                      <a:lnTo>
                        <a:pt x="252" y="1290"/>
                      </a:lnTo>
                      <a:lnTo>
                        <a:pt x="229" y="1292"/>
                      </a:lnTo>
                      <a:lnTo>
                        <a:pt x="207" y="1295"/>
                      </a:lnTo>
                      <a:lnTo>
                        <a:pt x="184" y="1296"/>
                      </a:lnTo>
                      <a:lnTo>
                        <a:pt x="162" y="1298"/>
                      </a:lnTo>
                      <a:lnTo>
                        <a:pt x="139" y="1299"/>
                      </a:lnTo>
                      <a:lnTo>
                        <a:pt x="116" y="1300"/>
                      </a:lnTo>
                      <a:lnTo>
                        <a:pt x="94" y="1300"/>
                      </a:lnTo>
                      <a:lnTo>
                        <a:pt x="0" y="964"/>
                      </a:lnTo>
                      <a:lnTo>
                        <a:pt x="94" y="650"/>
                      </a:lnTo>
                      <a:lnTo>
                        <a:pt x="105" y="650"/>
                      </a:lnTo>
                      <a:lnTo>
                        <a:pt x="116" y="649"/>
                      </a:lnTo>
                      <a:lnTo>
                        <a:pt x="127" y="649"/>
                      </a:lnTo>
                      <a:lnTo>
                        <a:pt x="139" y="648"/>
                      </a:lnTo>
                      <a:lnTo>
                        <a:pt x="150" y="647"/>
                      </a:lnTo>
                      <a:lnTo>
                        <a:pt x="162" y="646"/>
                      </a:lnTo>
                      <a:lnTo>
                        <a:pt x="172" y="645"/>
                      </a:lnTo>
                      <a:lnTo>
                        <a:pt x="184" y="643"/>
                      </a:lnTo>
                      <a:lnTo>
                        <a:pt x="195" y="641"/>
                      </a:lnTo>
                      <a:lnTo>
                        <a:pt x="206" y="639"/>
                      </a:lnTo>
                      <a:lnTo>
                        <a:pt x="217" y="637"/>
                      </a:lnTo>
                      <a:lnTo>
                        <a:pt x="229" y="635"/>
                      </a:lnTo>
                      <a:lnTo>
                        <a:pt x="239" y="633"/>
                      </a:lnTo>
                      <a:lnTo>
                        <a:pt x="251" y="631"/>
                      </a:lnTo>
                      <a:lnTo>
                        <a:pt x="261" y="628"/>
                      </a:lnTo>
                      <a:lnTo>
                        <a:pt x="272" y="625"/>
                      </a:lnTo>
                      <a:lnTo>
                        <a:pt x="284" y="621"/>
                      </a:lnTo>
                      <a:lnTo>
                        <a:pt x="294" y="618"/>
                      </a:lnTo>
                      <a:lnTo>
                        <a:pt x="305" y="614"/>
                      </a:lnTo>
                      <a:lnTo>
                        <a:pt x="315" y="610"/>
                      </a:lnTo>
                      <a:lnTo>
                        <a:pt x="326" y="607"/>
                      </a:lnTo>
                      <a:lnTo>
                        <a:pt x="336" y="602"/>
                      </a:lnTo>
                      <a:lnTo>
                        <a:pt x="347" y="598"/>
                      </a:lnTo>
                      <a:lnTo>
                        <a:pt x="357" y="593"/>
                      </a:lnTo>
                      <a:lnTo>
                        <a:pt x="368" y="588"/>
                      </a:lnTo>
                      <a:lnTo>
                        <a:pt x="379" y="584"/>
                      </a:lnTo>
                      <a:lnTo>
                        <a:pt x="388" y="579"/>
                      </a:lnTo>
                      <a:lnTo>
                        <a:pt x="399" y="574"/>
                      </a:lnTo>
                      <a:lnTo>
                        <a:pt x="408" y="568"/>
                      </a:lnTo>
                      <a:lnTo>
                        <a:pt x="418" y="563"/>
                      </a:lnTo>
                      <a:lnTo>
                        <a:pt x="428" y="557"/>
                      </a:lnTo>
                      <a:lnTo>
                        <a:pt x="438" y="551"/>
                      </a:lnTo>
                      <a:lnTo>
                        <a:pt x="447" y="545"/>
                      </a:lnTo>
                      <a:lnTo>
                        <a:pt x="456" y="539"/>
                      </a:lnTo>
                      <a:lnTo>
                        <a:pt x="466" y="532"/>
                      </a:lnTo>
                      <a:lnTo>
                        <a:pt x="476" y="525"/>
                      </a:lnTo>
                      <a:lnTo>
                        <a:pt x="484" y="518"/>
                      </a:lnTo>
                      <a:lnTo>
                        <a:pt x="494" y="512"/>
                      </a:lnTo>
                      <a:lnTo>
                        <a:pt x="502" y="505"/>
                      </a:lnTo>
                      <a:lnTo>
                        <a:pt x="511" y="497"/>
                      </a:lnTo>
                      <a:lnTo>
                        <a:pt x="520" y="491"/>
                      </a:lnTo>
                      <a:lnTo>
                        <a:pt x="528" y="483"/>
                      </a:lnTo>
                      <a:lnTo>
                        <a:pt x="536" y="475"/>
                      </a:lnTo>
                      <a:lnTo>
                        <a:pt x="545" y="467"/>
                      </a:lnTo>
                      <a:lnTo>
                        <a:pt x="552" y="459"/>
                      </a:lnTo>
                      <a:lnTo>
                        <a:pt x="561" y="451"/>
                      </a:lnTo>
                      <a:lnTo>
                        <a:pt x="569" y="443"/>
                      </a:lnTo>
                      <a:lnTo>
                        <a:pt x="576" y="435"/>
                      </a:lnTo>
                      <a:lnTo>
                        <a:pt x="584" y="426"/>
                      </a:lnTo>
                      <a:lnTo>
                        <a:pt x="591" y="418"/>
                      </a:lnTo>
                      <a:lnTo>
                        <a:pt x="598" y="409"/>
                      </a:lnTo>
                      <a:lnTo>
                        <a:pt x="605" y="400"/>
                      </a:lnTo>
                      <a:lnTo>
                        <a:pt x="612" y="391"/>
                      </a:lnTo>
                      <a:lnTo>
                        <a:pt x="619" y="382"/>
                      </a:lnTo>
                      <a:lnTo>
                        <a:pt x="625" y="372"/>
                      </a:lnTo>
                      <a:lnTo>
                        <a:pt x="632" y="363"/>
                      </a:lnTo>
                      <a:lnTo>
                        <a:pt x="639" y="353"/>
                      </a:lnTo>
                      <a:lnTo>
                        <a:pt x="644" y="345"/>
                      </a:lnTo>
                      <a:lnTo>
                        <a:pt x="650" y="334"/>
                      </a:lnTo>
                      <a:lnTo>
                        <a:pt x="656" y="324"/>
                      </a:lnTo>
                      <a:lnTo>
                        <a:pt x="662" y="315"/>
                      </a:lnTo>
                      <a:lnTo>
                        <a:pt x="667" y="305"/>
                      </a:lnTo>
                      <a:lnTo>
                        <a:pt x="672" y="295"/>
                      </a:lnTo>
                      <a:lnTo>
                        <a:pt x="677" y="285"/>
                      </a:lnTo>
                      <a:lnTo>
                        <a:pt x="682" y="275"/>
                      </a:lnTo>
                      <a:lnTo>
                        <a:pt x="687" y="264"/>
                      </a:lnTo>
                      <a:lnTo>
                        <a:pt x="691" y="253"/>
                      </a:lnTo>
                      <a:lnTo>
                        <a:pt x="695" y="243"/>
                      </a:lnTo>
                      <a:lnTo>
                        <a:pt x="700" y="232"/>
                      </a:lnTo>
                      <a:lnTo>
                        <a:pt x="704" y="222"/>
                      </a:lnTo>
                      <a:lnTo>
                        <a:pt x="708" y="211"/>
                      </a:lnTo>
                      <a:lnTo>
                        <a:pt x="712" y="201"/>
                      </a:lnTo>
                      <a:lnTo>
                        <a:pt x="715" y="190"/>
                      </a:lnTo>
                      <a:lnTo>
                        <a:pt x="718" y="179"/>
                      </a:lnTo>
                      <a:lnTo>
                        <a:pt x="721" y="168"/>
                      </a:lnTo>
                      <a:lnTo>
                        <a:pt x="724" y="157"/>
                      </a:lnTo>
                      <a:lnTo>
                        <a:pt x="726" y="146"/>
                      </a:lnTo>
                      <a:lnTo>
                        <a:pt x="729" y="135"/>
                      </a:lnTo>
                      <a:lnTo>
                        <a:pt x="731" y="124"/>
                      </a:lnTo>
                      <a:lnTo>
                        <a:pt x="733" y="112"/>
                      </a:lnTo>
                      <a:lnTo>
                        <a:pt x="735" y="102"/>
                      </a:lnTo>
                      <a:lnTo>
                        <a:pt x="737" y="90"/>
                      </a:lnTo>
                      <a:lnTo>
                        <a:pt x="739" y="79"/>
                      </a:lnTo>
                      <a:lnTo>
                        <a:pt x="739" y="68"/>
                      </a:lnTo>
                      <a:lnTo>
                        <a:pt x="740" y="57"/>
                      </a:lnTo>
                      <a:lnTo>
                        <a:pt x="741" y="45"/>
                      </a:lnTo>
                      <a:lnTo>
                        <a:pt x="742" y="34"/>
                      </a:lnTo>
                      <a:lnTo>
                        <a:pt x="742" y="22"/>
                      </a:lnTo>
                      <a:lnTo>
                        <a:pt x="743" y="12"/>
                      </a:lnTo>
                      <a:lnTo>
                        <a:pt x="743" y="0"/>
                      </a:lnTo>
                      <a:lnTo>
                        <a:pt x="1056" y="100"/>
                      </a:lnTo>
                      <a:lnTo>
                        <a:pt x="1393" y="0"/>
                      </a:lnTo>
                    </a:path>
                  </a:pathLst>
                </a:custGeom>
                <a:noFill/>
                <a:ln w="19050" cap="rnd">
                  <a:solidFill>
                    <a:srgbClr val="002D41"/>
                  </a:solidFill>
                  <a:round/>
                  <a:headEnd/>
                  <a:tailEnd/>
                </a:ln>
              </p:spPr>
              <p:txBody>
                <a:bodyPr lIns="72000" tIns="72000" rIns="72000" bIns="72000" anchor="ctr"/>
                <a:lstStyle/>
                <a:p>
                  <a:pPr>
                    <a:spcBef>
                      <a:spcPts val="800"/>
                    </a:spcBef>
                  </a:pPr>
                  <a:endParaRPr lang="de-DE" sz="800">
                    <a:latin typeface="+mn-lt"/>
                  </a:endParaRPr>
                </a:p>
              </p:txBody>
            </p:sp>
            <p:sp>
              <p:nvSpPr>
                <p:cNvPr id="20" name="Text Box 10">
                  <a:extLst>
                    <a:ext uri="{FF2B5EF4-FFF2-40B4-BE49-F238E27FC236}">
                      <a16:creationId xmlns:a16="http://schemas.microsoft.com/office/drawing/2014/main" id="{8B2E8079-B329-44DD-963C-44F7CC0011B1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2"/>
                  </p:custDataLst>
                </p:nvPr>
              </p:nvSpPr>
              <p:spPr bwMode="auto">
                <a:xfrm rot="2862967">
                  <a:off x="5568266" y="4739384"/>
                  <a:ext cx="997599" cy="807409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0" tIns="0" rIns="0" bIns="0" anchor="ctr">
                  <a:spAutoFit/>
                </a:bodyPr>
                <a:lstStyle/>
                <a:p>
                  <a:pPr algn="ctr">
                    <a:spcBef>
                      <a:spcPts val="800"/>
                    </a:spcBef>
                    <a:buClrTx/>
                    <a:buSzTx/>
                    <a:buFontTx/>
                    <a:buNone/>
                  </a:pPr>
                  <a:r>
                    <a:rPr lang="de-DE" sz="800">
                      <a:latin typeface="+mn-lt"/>
                    </a:rPr>
                    <a:t>OKR Überprü-fung</a:t>
                  </a:r>
                </a:p>
              </p:txBody>
            </p:sp>
          </p:grpSp>
        </p:grpSp>
        <p:sp>
          <p:nvSpPr>
            <p:cNvPr id="10" name="Flowchart: Off-page Connector 16">
              <a:extLst>
                <a:ext uri="{FF2B5EF4-FFF2-40B4-BE49-F238E27FC236}">
                  <a16:creationId xmlns:a16="http://schemas.microsoft.com/office/drawing/2014/main" id="{3DFB4981-B154-4851-A552-0F387724D32E}"/>
                </a:ext>
              </a:extLst>
            </p:cNvPr>
            <p:cNvSpPr/>
            <p:nvPr/>
          </p:nvSpPr>
          <p:spPr>
            <a:xfrm rot="16200000">
              <a:off x="2216696" y="3356992"/>
              <a:ext cx="1008112" cy="1872208"/>
            </a:xfrm>
            <a:prstGeom prst="flowChartOffpageConnector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de-DE" sz="1050">
                  <a:solidFill>
                    <a:schemeClr val="tx1"/>
                  </a:solidFill>
                </a:rPr>
                <a:t>Vision</a:t>
              </a:r>
            </a:p>
          </p:txBody>
        </p:sp>
        <p:sp>
          <p:nvSpPr>
            <p:cNvPr id="11" name="Chevron 17">
              <a:extLst>
                <a:ext uri="{FF2B5EF4-FFF2-40B4-BE49-F238E27FC236}">
                  <a16:creationId xmlns:a16="http://schemas.microsoft.com/office/drawing/2014/main" id="{6697EA13-5DE6-4A8C-992F-69780C1326F7}"/>
                </a:ext>
              </a:extLst>
            </p:cNvPr>
            <p:cNvSpPr/>
            <p:nvPr/>
          </p:nvSpPr>
          <p:spPr>
            <a:xfrm>
              <a:off x="3483152" y="3789040"/>
              <a:ext cx="1872208" cy="1008112"/>
            </a:xfrm>
            <a:prstGeom prst="chevron">
              <a:avLst>
                <a:gd name="adj" fmla="val 41955"/>
              </a:avLst>
            </a:prstGeom>
            <a:noFill/>
            <a:ln w="19050">
              <a:solidFill>
                <a:srgbClr val="FAC3A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1050">
                  <a:solidFill>
                    <a:schemeClr val="tx1"/>
                  </a:solidFill>
                  <a:cs typeface="Arial"/>
                </a:rPr>
                <a:t>Strateg. Ziele</a:t>
              </a:r>
            </a:p>
            <a:p>
              <a:pPr algn="ctr"/>
              <a:endParaRPr lang="de-DE" sz="400">
                <a:solidFill>
                  <a:schemeClr val="tx1"/>
                </a:solidFill>
              </a:endParaRPr>
            </a:p>
          </p:txBody>
        </p:sp>
        <p:grpSp>
          <p:nvGrpSpPr>
            <p:cNvPr id="12" name="Group 20">
              <a:extLst>
                <a:ext uri="{FF2B5EF4-FFF2-40B4-BE49-F238E27FC236}">
                  <a16:creationId xmlns:a16="http://schemas.microsoft.com/office/drawing/2014/main" id="{CE2F96D5-EA26-4095-850F-6F5E149F518C}"/>
                </a:ext>
              </a:extLst>
            </p:cNvPr>
            <p:cNvGrpSpPr/>
            <p:nvPr/>
          </p:nvGrpSpPr>
          <p:grpSpPr>
            <a:xfrm>
              <a:off x="2360710" y="4941168"/>
              <a:ext cx="3495679" cy="760721"/>
              <a:chOff x="2360710" y="4941168"/>
              <a:chExt cx="3495679" cy="760721"/>
            </a:xfrm>
            <a:solidFill>
              <a:schemeClr val="tx1"/>
            </a:solidFill>
          </p:grpSpPr>
          <p:sp>
            <p:nvSpPr>
              <p:cNvPr id="13" name="Bent-Up Arrow 18">
                <a:extLst>
                  <a:ext uri="{FF2B5EF4-FFF2-40B4-BE49-F238E27FC236}">
                    <a16:creationId xmlns:a16="http://schemas.microsoft.com/office/drawing/2014/main" id="{D8E6EA63-3806-4E04-BDB5-1D357C325C29}"/>
                  </a:ext>
                </a:extLst>
              </p:cNvPr>
              <p:cNvSpPr/>
              <p:nvPr/>
            </p:nvSpPr>
            <p:spPr>
              <a:xfrm flipH="1">
                <a:off x="4067349" y="4941168"/>
                <a:ext cx="1789040" cy="760721"/>
              </a:xfrm>
              <a:prstGeom prst="bentUpArrow">
                <a:avLst/>
              </a:prstGeom>
              <a:grp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05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4" name="Bent-Up Arrow 19">
                <a:extLst>
                  <a:ext uri="{FF2B5EF4-FFF2-40B4-BE49-F238E27FC236}">
                    <a16:creationId xmlns:a16="http://schemas.microsoft.com/office/drawing/2014/main" id="{A88537C4-0AA8-47F1-BB9D-36E7BB3C47B8}"/>
                  </a:ext>
                </a:extLst>
              </p:cNvPr>
              <p:cNvSpPr/>
              <p:nvPr/>
            </p:nvSpPr>
            <p:spPr>
              <a:xfrm flipH="1">
                <a:off x="2360710" y="4941168"/>
                <a:ext cx="1800201" cy="760721"/>
              </a:xfrm>
              <a:prstGeom prst="bentUpArrow">
                <a:avLst/>
              </a:prstGeom>
              <a:grp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050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29" name="Rechteck 28">
            <a:extLst>
              <a:ext uri="{FF2B5EF4-FFF2-40B4-BE49-F238E27FC236}">
                <a16:creationId xmlns:a16="http://schemas.microsoft.com/office/drawing/2014/main" id="{91B41E04-8CDB-4255-93E6-41AED3ECE53B}"/>
              </a:ext>
            </a:extLst>
          </p:cNvPr>
          <p:cNvSpPr/>
          <p:nvPr/>
        </p:nvSpPr>
        <p:spPr>
          <a:xfrm>
            <a:off x="3810000" y="1062405"/>
            <a:ext cx="4459480" cy="3361188"/>
          </a:xfrm>
          <a:prstGeom prst="rect">
            <a:avLst/>
          </a:prstGeom>
          <a:noFill/>
          <a:ln>
            <a:solidFill>
              <a:srgbClr val="B4C3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3785B72C-797F-4493-A926-23741603051D}"/>
              </a:ext>
            </a:extLst>
          </p:cNvPr>
          <p:cNvSpPr/>
          <p:nvPr/>
        </p:nvSpPr>
        <p:spPr>
          <a:xfrm>
            <a:off x="3828020" y="1070610"/>
            <a:ext cx="4915929" cy="73866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de-DE" sz="1400" dirty="0"/>
              <a:t>In Zyklen von 3 Monaten werden Etappenziele und Kernergebnisse geplant, umgesetzt und der Prozess reflektiert. 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D9465DCC-40D9-4DA3-9941-8D6D47EB103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2098" y="1704353"/>
            <a:ext cx="3102575" cy="2723635"/>
          </a:xfrm>
          <a:prstGeom prst="rect">
            <a:avLst/>
          </a:prstGeom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026586E8-D842-4C50-905E-2CB8E8738AA5}"/>
              </a:ext>
            </a:extLst>
          </p:cNvPr>
          <p:cNvSpPr/>
          <p:nvPr/>
        </p:nvSpPr>
        <p:spPr>
          <a:xfrm>
            <a:off x="501968" y="1070610"/>
            <a:ext cx="330803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/>
              <a:t>Die OKR-Methode ermöglicht es die Arbeit im Projekt kohärent und zugleich flexibel an den strategischen Zielen auszurichten.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034874B8-80BB-4C5A-BE3D-CE3207BF3D8D}"/>
              </a:ext>
            </a:extLst>
          </p:cNvPr>
          <p:cNvSpPr/>
          <p:nvPr/>
        </p:nvSpPr>
        <p:spPr>
          <a:xfrm>
            <a:off x="501968" y="1062405"/>
            <a:ext cx="3224212" cy="3365583"/>
          </a:xfrm>
          <a:prstGeom prst="rect">
            <a:avLst/>
          </a:prstGeom>
          <a:noFill/>
          <a:ln>
            <a:solidFill>
              <a:srgbClr val="B4C3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Titel 8">
            <a:extLst>
              <a:ext uri="{FF2B5EF4-FFF2-40B4-BE49-F238E27FC236}">
                <a16:creationId xmlns:a16="http://schemas.microsoft.com/office/drawing/2014/main" id="{B15D0415-C630-4547-A867-12A053281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199" y="699750"/>
            <a:ext cx="8280001" cy="335681"/>
          </a:xfrm>
        </p:spPr>
        <p:txBody>
          <a:bodyPr/>
          <a:lstStyle/>
          <a:p>
            <a:pPr>
              <a:lnSpc>
                <a:spcPts val="1500"/>
              </a:lnSpc>
            </a:pPr>
            <a:r>
              <a:rPr lang="de-DE" sz="1500" dirty="0"/>
              <a:t>Übersicht OKR-Methode</a:t>
            </a:r>
            <a:br>
              <a:rPr lang="de-DE" sz="1500" dirty="0"/>
            </a:b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965254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AD66A53-AF7B-41C2-B962-456F6D4EFE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ase 04-07: Strategische Ziele-Evaluation &amp; Anpass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EA405F5-9D7E-437C-9C68-C4B57E856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3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95D8028-B6C9-4A29-9E55-C022E69A55B6}"/>
              </a:ext>
            </a:extLst>
          </p:cNvPr>
          <p:cNvSpPr/>
          <p:nvPr/>
        </p:nvSpPr>
        <p:spPr>
          <a:xfrm>
            <a:off x="431800" y="933630"/>
            <a:ext cx="7919720" cy="3776106"/>
          </a:xfrm>
          <a:prstGeom prst="rect">
            <a:avLst/>
          </a:prstGeom>
          <a:solidFill>
            <a:srgbClr val="EBF5FF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rtl="0"/>
            <a:endParaRPr lang="en-US" dirty="0">
              <a:latin typeface="Merriweather"/>
            </a:endParaRPr>
          </a:p>
        </p:txBody>
      </p:sp>
      <p:grpSp>
        <p:nvGrpSpPr>
          <p:cNvPr id="32" name="Group 15">
            <a:extLst>
              <a:ext uri="{FF2B5EF4-FFF2-40B4-BE49-F238E27FC236}">
                <a16:creationId xmlns:a16="http://schemas.microsoft.com/office/drawing/2014/main" id="{1AD4FA01-4B98-4806-ACCE-65F9E7299002}"/>
              </a:ext>
            </a:extLst>
          </p:cNvPr>
          <p:cNvGrpSpPr/>
          <p:nvPr/>
        </p:nvGrpSpPr>
        <p:grpSpPr>
          <a:xfrm>
            <a:off x="2335394" y="2023006"/>
            <a:ext cx="4167808" cy="2176324"/>
            <a:chOff x="1784648" y="2158634"/>
            <a:chExt cx="7700673" cy="4021097"/>
          </a:xfrm>
        </p:grpSpPr>
        <p:grpSp>
          <p:nvGrpSpPr>
            <p:cNvPr id="33" name="Gruppieren 25">
              <a:extLst>
                <a:ext uri="{FF2B5EF4-FFF2-40B4-BE49-F238E27FC236}">
                  <a16:creationId xmlns:a16="http://schemas.microsoft.com/office/drawing/2014/main" id="{798C3688-74EE-4E0F-A4AB-3903F6DCAE9A}"/>
                </a:ext>
              </a:extLst>
            </p:cNvPr>
            <p:cNvGrpSpPr/>
            <p:nvPr/>
          </p:nvGrpSpPr>
          <p:grpSpPr>
            <a:xfrm rot="18737033">
              <a:off x="5481666" y="2176076"/>
              <a:ext cx="4021097" cy="3986213"/>
              <a:chOff x="2586038" y="1403350"/>
              <a:chExt cx="4757737" cy="4716463"/>
            </a:xfrm>
          </p:grpSpPr>
          <p:grpSp>
            <p:nvGrpSpPr>
              <p:cNvPr id="39" name="Gruppieren 38">
                <a:extLst>
                  <a:ext uri="{FF2B5EF4-FFF2-40B4-BE49-F238E27FC236}">
                    <a16:creationId xmlns:a16="http://schemas.microsoft.com/office/drawing/2014/main" id="{75FACB33-E241-4D87-AF68-EF0CE443361C}"/>
                  </a:ext>
                </a:extLst>
              </p:cNvPr>
              <p:cNvGrpSpPr/>
              <p:nvPr/>
            </p:nvGrpSpPr>
            <p:grpSpPr>
              <a:xfrm>
                <a:off x="4965700" y="1403350"/>
                <a:ext cx="2378075" cy="2540000"/>
                <a:chOff x="4965700" y="1403350"/>
                <a:chExt cx="2378075" cy="2540000"/>
              </a:xfrm>
            </p:grpSpPr>
            <p:sp>
              <p:nvSpPr>
                <p:cNvPr id="49" name="Freeform 5">
                  <a:extLst>
                    <a:ext uri="{FF2B5EF4-FFF2-40B4-BE49-F238E27FC236}">
                      <a16:creationId xmlns:a16="http://schemas.microsoft.com/office/drawing/2014/main" id="{934D6A76-9D70-4823-B10F-D11A688B17CD}"/>
                    </a:ext>
                  </a:extLst>
                </p:cNvPr>
                <p:cNvSpPr>
                  <a:spLocks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4965700" y="1403350"/>
                  <a:ext cx="2378075" cy="2540000"/>
                </a:xfrm>
                <a:custGeom>
                  <a:avLst/>
                  <a:gdLst>
                    <a:gd name="T0" fmla="*/ 45 w 1300"/>
                    <a:gd name="T1" fmla="*/ 1 h 1401"/>
                    <a:gd name="T2" fmla="*/ 113 w 1300"/>
                    <a:gd name="T3" fmla="*/ 5 h 1401"/>
                    <a:gd name="T4" fmla="*/ 180 w 1300"/>
                    <a:gd name="T5" fmla="*/ 13 h 1401"/>
                    <a:gd name="T6" fmla="*/ 247 w 1300"/>
                    <a:gd name="T7" fmla="*/ 24 h 1401"/>
                    <a:gd name="T8" fmla="*/ 313 w 1300"/>
                    <a:gd name="T9" fmla="*/ 39 h 1401"/>
                    <a:gd name="T10" fmla="*/ 380 w 1300"/>
                    <a:gd name="T11" fmla="*/ 57 h 1401"/>
                    <a:gd name="T12" fmla="*/ 444 w 1300"/>
                    <a:gd name="T13" fmla="*/ 78 h 1401"/>
                    <a:gd name="T14" fmla="*/ 507 w 1300"/>
                    <a:gd name="T15" fmla="*/ 103 h 1401"/>
                    <a:gd name="T16" fmla="*/ 569 w 1300"/>
                    <a:gd name="T17" fmla="*/ 132 h 1401"/>
                    <a:gd name="T18" fmla="*/ 629 w 1300"/>
                    <a:gd name="T19" fmla="*/ 164 h 1401"/>
                    <a:gd name="T20" fmla="*/ 688 w 1300"/>
                    <a:gd name="T21" fmla="*/ 197 h 1401"/>
                    <a:gd name="T22" fmla="*/ 744 w 1300"/>
                    <a:gd name="T23" fmla="*/ 236 h 1401"/>
                    <a:gd name="T24" fmla="*/ 799 w 1300"/>
                    <a:gd name="T25" fmla="*/ 276 h 1401"/>
                    <a:gd name="T26" fmla="*/ 852 w 1300"/>
                    <a:gd name="T27" fmla="*/ 319 h 1401"/>
                    <a:gd name="T28" fmla="*/ 902 w 1300"/>
                    <a:gd name="T29" fmla="*/ 365 h 1401"/>
                    <a:gd name="T30" fmla="*/ 950 w 1300"/>
                    <a:gd name="T31" fmla="*/ 413 h 1401"/>
                    <a:gd name="T32" fmla="*/ 995 w 1300"/>
                    <a:gd name="T33" fmla="*/ 464 h 1401"/>
                    <a:gd name="T34" fmla="*/ 1037 w 1300"/>
                    <a:gd name="T35" fmla="*/ 518 h 1401"/>
                    <a:gd name="T36" fmla="*/ 1076 w 1300"/>
                    <a:gd name="T37" fmla="*/ 573 h 1401"/>
                    <a:gd name="T38" fmla="*/ 1113 w 1300"/>
                    <a:gd name="T39" fmla="*/ 630 h 1401"/>
                    <a:gd name="T40" fmla="*/ 1146 w 1300"/>
                    <a:gd name="T41" fmla="*/ 690 h 1401"/>
                    <a:gd name="T42" fmla="*/ 1177 w 1300"/>
                    <a:gd name="T43" fmla="*/ 751 h 1401"/>
                    <a:gd name="T44" fmla="*/ 1204 w 1300"/>
                    <a:gd name="T45" fmla="*/ 813 h 1401"/>
                    <a:gd name="T46" fmla="*/ 1228 w 1300"/>
                    <a:gd name="T47" fmla="*/ 877 h 1401"/>
                    <a:gd name="T48" fmla="*/ 1248 w 1300"/>
                    <a:gd name="T49" fmla="*/ 942 h 1401"/>
                    <a:gd name="T50" fmla="*/ 1266 w 1300"/>
                    <a:gd name="T51" fmla="*/ 1007 h 1401"/>
                    <a:gd name="T52" fmla="*/ 1279 w 1300"/>
                    <a:gd name="T53" fmla="*/ 1074 h 1401"/>
                    <a:gd name="T54" fmla="*/ 1290 w 1300"/>
                    <a:gd name="T55" fmla="*/ 1142 h 1401"/>
                    <a:gd name="T56" fmla="*/ 1295 w 1300"/>
                    <a:gd name="T57" fmla="*/ 1209 h 1401"/>
                    <a:gd name="T58" fmla="*/ 1299 w 1300"/>
                    <a:gd name="T59" fmla="*/ 1277 h 1401"/>
                    <a:gd name="T60" fmla="*/ 649 w 1300"/>
                    <a:gd name="T61" fmla="*/ 1300 h 1401"/>
                    <a:gd name="T62" fmla="*/ 648 w 1300"/>
                    <a:gd name="T63" fmla="*/ 1265 h 1401"/>
                    <a:gd name="T64" fmla="*/ 645 w 1300"/>
                    <a:gd name="T65" fmla="*/ 1232 h 1401"/>
                    <a:gd name="T66" fmla="*/ 641 w 1300"/>
                    <a:gd name="T67" fmla="*/ 1198 h 1401"/>
                    <a:gd name="T68" fmla="*/ 635 w 1300"/>
                    <a:gd name="T69" fmla="*/ 1165 h 1401"/>
                    <a:gd name="T70" fmla="*/ 627 w 1300"/>
                    <a:gd name="T71" fmla="*/ 1132 h 1401"/>
                    <a:gd name="T72" fmla="*/ 618 w 1300"/>
                    <a:gd name="T73" fmla="*/ 1099 h 1401"/>
                    <a:gd name="T74" fmla="*/ 606 w 1300"/>
                    <a:gd name="T75" fmla="*/ 1067 h 1401"/>
                    <a:gd name="T76" fmla="*/ 593 w 1300"/>
                    <a:gd name="T77" fmla="*/ 1035 h 1401"/>
                    <a:gd name="T78" fmla="*/ 578 w 1300"/>
                    <a:gd name="T79" fmla="*/ 1004 h 1401"/>
                    <a:gd name="T80" fmla="*/ 562 w 1300"/>
                    <a:gd name="T81" fmla="*/ 975 h 1401"/>
                    <a:gd name="T82" fmla="*/ 545 w 1300"/>
                    <a:gd name="T83" fmla="*/ 946 h 1401"/>
                    <a:gd name="T84" fmla="*/ 525 w 1300"/>
                    <a:gd name="T85" fmla="*/ 918 h 1401"/>
                    <a:gd name="T86" fmla="*/ 504 w 1300"/>
                    <a:gd name="T87" fmla="*/ 891 h 1401"/>
                    <a:gd name="T88" fmla="*/ 482 w 1300"/>
                    <a:gd name="T89" fmla="*/ 865 h 1401"/>
                    <a:gd name="T90" fmla="*/ 458 w 1300"/>
                    <a:gd name="T91" fmla="*/ 840 h 1401"/>
                    <a:gd name="T92" fmla="*/ 434 w 1300"/>
                    <a:gd name="T93" fmla="*/ 817 h 1401"/>
                    <a:gd name="T94" fmla="*/ 408 w 1300"/>
                    <a:gd name="T95" fmla="*/ 795 h 1401"/>
                    <a:gd name="T96" fmla="*/ 382 w 1300"/>
                    <a:gd name="T97" fmla="*/ 774 h 1401"/>
                    <a:gd name="T98" fmla="*/ 353 w 1300"/>
                    <a:gd name="T99" fmla="*/ 755 h 1401"/>
                    <a:gd name="T100" fmla="*/ 324 w 1300"/>
                    <a:gd name="T101" fmla="*/ 737 h 1401"/>
                    <a:gd name="T102" fmla="*/ 294 w 1300"/>
                    <a:gd name="T103" fmla="*/ 721 h 1401"/>
                    <a:gd name="T104" fmla="*/ 263 w 1300"/>
                    <a:gd name="T105" fmla="*/ 706 h 1401"/>
                    <a:gd name="T106" fmla="*/ 232 w 1300"/>
                    <a:gd name="T107" fmla="*/ 693 h 1401"/>
                    <a:gd name="T108" fmla="*/ 200 w 1300"/>
                    <a:gd name="T109" fmla="*/ 682 h 1401"/>
                    <a:gd name="T110" fmla="*/ 167 w 1300"/>
                    <a:gd name="T111" fmla="*/ 672 h 1401"/>
                    <a:gd name="T112" fmla="*/ 135 w 1300"/>
                    <a:gd name="T113" fmla="*/ 665 h 1401"/>
                    <a:gd name="T114" fmla="*/ 101 w 1300"/>
                    <a:gd name="T115" fmla="*/ 658 h 1401"/>
                    <a:gd name="T116" fmla="*/ 68 w 1300"/>
                    <a:gd name="T117" fmla="*/ 653 h 1401"/>
                    <a:gd name="T118" fmla="*/ 33 w 1300"/>
                    <a:gd name="T119" fmla="*/ 651 h 1401"/>
                    <a:gd name="T120" fmla="*/ 0 w 1300"/>
                    <a:gd name="T121" fmla="*/ 650 h 1401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300"/>
                    <a:gd name="T184" fmla="*/ 0 h 1401"/>
                    <a:gd name="T185" fmla="*/ 1300 w 1300"/>
                    <a:gd name="T186" fmla="*/ 1401 h 1401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300" h="1401">
                      <a:moveTo>
                        <a:pt x="0" y="0"/>
                      </a:moveTo>
                      <a:lnTo>
                        <a:pt x="22" y="0"/>
                      </a:lnTo>
                      <a:lnTo>
                        <a:pt x="45" y="1"/>
                      </a:lnTo>
                      <a:lnTo>
                        <a:pt x="68" y="2"/>
                      </a:lnTo>
                      <a:lnTo>
                        <a:pt x="90" y="3"/>
                      </a:lnTo>
                      <a:lnTo>
                        <a:pt x="113" y="5"/>
                      </a:lnTo>
                      <a:lnTo>
                        <a:pt x="135" y="7"/>
                      </a:lnTo>
                      <a:lnTo>
                        <a:pt x="158" y="10"/>
                      </a:lnTo>
                      <a:lnTo>
                        <a:pt x="180" y="13"/>
                      </a:lnTo>
                      <a:lnTo>
                        <a:pt x="203" y="16"/>
                      </a:lnTo>
                      <a:lnTo>
                        <a:pt x="225" y="20"/>
                      </a:lnTo>
                      <a:lnTo>
                        <a:pt x="247" y="24"/>
                      </a:lnTo>
                      <a:lnTo>
                        <a:pt x="269" y="28"/>
                      </a:lnTo>
                      <a:lnTo>
                        <a:pt x="291" y="33"/>
                      </a:lnTo>
                      <a:lnTo>
                        <a:pt x="313" y="39"/>
                      </a:lnTo>
                      <a:lnTo>
                        <a:pt x="335" y="45"/>
                      </a:lnTo>
                      <a:lnTo>
                        <a:pt x="358" y="50"/>
                      </a:lnTo>
                      <a:lnTo>
                        <a:pt x="380" y="57"/>
                      </a:lnTo>
                      <a:lnTo>
                        <a:pt x="401" y="64"/>
                      </a:lnTo>
                      <a:lnTo>
                        <a:pt x="423" y="71"/>
                      </a:lnTo>
                      <a:lnTo>
                        <a:pt x="444" y="78"/>
                      </a:lnTo>
                      <a:lnTo>
                        <a:pt x="465" y="87"/>
                      </a:lnTo>
                      <a:lnTo>
                        <a:pt x="486" y="94"/>
                      </a:lnTo>
                      <a:lnTo>
                        <a:pt x="507" y="103"/>
                      </a:lnTo>
                      <a:lnTo>
                        <a:pt x="527" y="113"/>
                      </a:lnTo>
                      <a:lnTo>
                        <a:pt x="549" y="122"/>
                      </a:lnTo>
                      <a:lnTo>
                        <a:pt x="569" y="132"/>
                      </a:lnTo>
                      <a:lnTo>
                        <a:pt x="589" y="141"/>
                      </a:lnTo>
                      <a:lnTo>
                        <a:pt x="609" y="152"/>
                      </a:lnTo>
                      <a:lnTo>
                        <a:pt x="629" y="164"/>
                      </a:lnTo>
                      <a:lnTo>
                        <a:pt x="649" y="174"/>
                      </a:lnTo>
                      <a:lnTo>
                        <a:pt x="669" y="186"/>
                      </a:lnTo>
                      <a:lnTo>
                        <a:pt x="688" y="197"/>
                      </a:lnTo>
                      <a:lnTo>
                        <a:pt x="707" y="210"/>
                      </a:lnTo>
                      <a:lnTo>
                        <a:pt x="726" y="222"/>
                      </a:lnTo>
                      <a:lnTo>
                        <a:pt x="744" y="236"/>
                      </a:lnTo>
                      <a:lnTo>
                        <a:pt x="764" y="248"/>
                      </a:lnTo>
                      <a:lnTo>
                        <a:pt x="782" y="261"/>
                      </a:lnTo>
                      <a:lnTo>
                        <a:pt x="799" y="276"/>
                      </a:lnTo>
                      <a:lnTo>
                        <a:pt x="817" y="289"/>
                      </a:lnTo>
                      <a:lnTo>
                        <a:pt x="835" y="305"/>
                      </a:lnTo>
                      <a:lnTo>
                        <a:pt x="852" y="319"/>
                      </a:lnTo>
                      <a:lnTo>
                        <a:pt x="869" y="334"/>
                      </a:lnTo>
                      <a:lnTo>
                        <a:pt x="885" y="350"/>
                      </a:lnTo>
                      <a:lnTo>
                        <a:pt x="902" y="365"/>
                      </a:lnTo>
                      <a:lnTo>
                        <a:pt x="918" y="380"/>
                      </a:lnTo>
                      <a:lnTo>
                        <a:pt x="934" y="397"/>
                      </a:lnTo>
                      <a:lnTo>
                        <a:pt x="950" y="413"/>
                      </a:lnTo>
                      <a:lnTo>
                        <a:pt x="965" y="430"/>
                      </a:lnTo>
                      <a:lnTo>
                        <a:pt x="980" y="447"/>
                      </a:lnTo>
                      <a:lnTo>
                        <a:pt x="995" y="464"/>
                      </a:lnTo>
                      <a:lnTo>
                        <a:pt x="1009" y="482"/>
                      </a:lnTo>
                      <a:lnTo>
                        <a:pt x="1024" y="499"/>
                      </a:lnTo>
                      <a:lnTo>
                        <a:pt x="1037" y="518"/>
                      </a:lnTo>
                      <a:lnTo>
                        <a:pt x="1051" y="536"/>
                      </a:lnTo>
                      <a:lnTo>
                        <a:pt x="1064" y="554"/>
                      </a:lnTo>
                      <a:lnTo>
                        <a:pt x="1076" y="573"/>
                      </a:lnTo>
                      <a:lnTo>
                        <a:pt x="1089" y="592"/>
                      </a:lnTo>
                      <a:lnTo>
                        <a:pt x="1101" y="611"/>
                      </a:lnTo>
                      <a:lnTo>
                        <a:pt x="1113" y="630"/>
                      </a:lnTo>
                      <a:lnTo>
                        <a:pt x="1124" y="650"/>
                      </a:lnTo>
                      <a:lnTo>
                        <a:pt x="1136" y="669"/>
                      </a:lnTo>
                      <a:lnTo>
                        <a:pt x="1146" y="690"/>
                      </a:lnTo>
                      <a:lnTo>
                        <a:pt x="1157" y="710"/>
                      </a:lnTo>
                      <a:lnTo>
                        <a:pt x="1168" y="730"/>
                      </a:lnTo>
                      <a:lnTo>
                        <a:pt x="1177" y="751"/>
                      </a:lnTo>
                      <a:lnTo>
                        <a:pt x="1187" y="771"/>
                      </a:lnTo>
                      <a:lnTo>
                        <a:pt x="1195" y="792"/>
                      </a:lnTo>
                      <a:lnTo>
                        <a:pt x="1204" y="813"/>
                      </a:lnTo>
                      <a:lnTo>
                        <a:pt x="1213" y="834"/>
                      </a:lnTo>
                      <a:lnTo>
                        <a:pt x="1220" y="856"/>
                      </a:lnTo>
                      <a:lnTo>
                        <a:pt x="1228" y="877"/>
                      </a:lnTo>
                      <a:lnTo>
                        <a:pt x="1235" y="898"/>
                      </a:lnTo>
                      <a:lnTo>
                        <a:pt x="1242" y="920"/>
                      </a:lnTo>
                      <a:lnTo>
                        <a:pt x="1248" y="942"/>
                      </a:lnTo>
                      <a:lnTo>
                        <a:pt x="1255" y="963"/>
                      </a:lnTo>
                      <a:lnTo>
                        <a:pt x="1261" y="985"/>
                      </a:lnTo>
                      <a:lnTo>
                        <a:pt x="1266" y="1007"/>
                      </a:lnTo>
                      <a:lnTo>
                        <a:pt x="1270" y="1029"/>
                      </a:lnTo>
                      <a:lnTo>
                        <a:pt x="1275" y="1051"/>
                      </a:lnTo>
                      <a:lnTo>
                        <a:pt x="1279" y="1074"/>
                      </a:lnTo>
                      <a:lnTo>
                        <a:pt x="1283" y="1097"/>
                      </a:lnTo>
                      <a:lnTo>
                        <a:pt x="1287" y="1119"/>
                      </a:lnTo>
                      <a:lnTo>
                        <a:pt x="1290" y="1142"/>
                      </a:lnTo>
                      <a:lnTo>
                        <a:pt x="1291" y="1164"/>
                      </a:lnTo>
                      <a:lnTo>
                        <a:pt x="1294" y="1187"/>
                      </a:lnTo>
                      <a:lnTo>
                        <a:pt x="1295" y="1209"/>
                      </a:lnTo>
                      <a:lnTo>
                        <a:pt x="1297" y="1232"/>
                      </a:lnTo>
                      <a:lnTo>
                        <a:pt x="1298" y="1254"/>
                      </a:lnTo>
                      <a:lnTo>
                        <a:pt x="1299" y="1277"/>
                      </a:lnTo>
                      <a:lnTo>
                        <a:pt x="1299" y="1300"/>
                      </a:lnTo>
                      <a:lnTo>
                        <a:pt x="962" y="1400"/>
                      </a:lnTo>
                      <a:lnTo>
                        <a:pt x="649" y="1300"/>
                      </a:lnTo>
                      <a:lnTo>
                        <a:pt x="649" y="1289"/>
                      </a:lnTo>
                      <a:lnTo>
                        <a:pt x="648" y="1277"/>
                      </a:lnTo>
                      <a:lnTo>
                        <a:pt x="648" y="1265"/>
                      </a:lnTo>
                      <a:lnTo>
                        <a:pt x="647" y="1255"/>
                      </a:lnTo>
                      <a:lnTo>
                        <a:pt x="646" y="1243"/>
                      </a:lnTo>
                      <a:lnTo>
                        <a:pt x="645" y="1232"/>
                      </a:lnTo>
                      <a:lnTo>
                        <a:pt x="645" y="1220"/>
                      </a:lnTo>
                      <a:lnTo>
                        <a:pt x="643" y="1210"/>
                      </a:lnTo>
                      <a:lnTo>
                        <a:pt x="641" y="1198"/>
                      </a:lnTo>
                      <a:lnTo>
                        <a:pt x="639" y="1187"/>
                      </a:lnTo>
                      <a:lnTo>
                        <a:pt x="637" y="1176"/>
                      </a:lnTo>
                      <a:lnTo>
                        <a:pt x="635" y="1165"/>
                      </a:lnTo>
                      <a:lnTo>
                        <a:pt x="632" y="1153"/>
                      </a:lnTo>
                      <a:lnTo>
                        <a:pt x="630" y="1143"/>
                      </a:lnTo>
                      <a:lnTo>
                        <a:pt x="627" y="1132"/>
                      </a:lnTo>
                      <a:lnTo>
                        <a:pt x="624" y="1121"/>
                      </a:lnTo>
                      <a:lnTo>
                        <a:pt x="621" y="1110"/>
                      </a:lnTo>
                      <a:lnTo>
                        <a:pt x="618" y="1099"/>
                      </a:lnTo>
                      <a:lnTo>
                        <a:pt x="614" y="1088"/>
                      </a:lnTo>
                      <a:lnTo>
                        <a:pt x="610" y="1077"/>
                      </a:lnTo>
                      <a:lnTo>
                        <a:pt x="606" y="1067"/>
                      </a:lnTo>
                      <a:lnTo>
                        <a:pt x="601" y="1056"/>
                      </a:lnTo>
                      <a:lnTo>
                        <a:pt x="597" y="1046"/>
                      </a:lnTo>
                      <a:lnTo>
                        <a:pt x="593" y="1035"/>
                      </a:lnTo>
                      <a:lnTo>
                        <a:pt x="588" y="1025"/>
                      </a:lnTo>
                      <a:lnTo>
                        <a:pt x="583" y="1015"/>
                      </a:lnTo>
                      <a:lnTo>
                        <a:pt x="578" y="1004"/>
                      </a:lnTo>
                      <a:lnTo>
                        <a:pt x="573" y="995"/>
                      </a:lnTo>
                      <a:lnTo>
                        <a:pt x="568" y="985"/>
                      </a:lnTo>
                      <a:lnTo>
                        <a:pt x="562" y="975"/>
                      </a:lnTo>
                      <a:lnTo>
                        <a:pt x="556" y="965"/>
                      </a:lnTo>
                      <a:lnTo>
                        <a:pt x="550" y="955"/>
                      </a:lnTo>
                      <a:lnTo>
                        <a:pt x="545" y="946"/>
                      </a:lnTo>
                      <a:lnTo>
                        <a:pt x="538" y="936"/>
                      </a:lnTo>
                      <a:lnTo>
                        <a:pt x="531" y="927"/>
                      </a:lnTo>
                      <a:lnTo>
                        <a:pt x="525" y="918"/>
                      </a:lnTo>
                      <a:lnTo>
                        <a:pt x="518" y="908"/>
                      </a:lnTo>
                      <a:lnTo>
                        <a:pt x="511" y="900"/>
                      </a:lnTo>
                      <a:lnTo>
                        <a:pt x="504" y="891"/>
                      </a:lnTo>
                      <a:lnTo>
                        <a:pt x="497" y="882"/>
                      </a:lnTo>
                      <a:lnTo>
                        <a:pt x="490" y="874"/>
                      </a:lnTo>
                      <a:lnTo>
                        <a:pt x="482" y="865"/>
                      </a:lnTo>
                      <a:lnTo>
                        <a:pt x="475" y="857"/>
                      </a:lnTo>
                      <a:lnTo>
                        <a:pt x="467" y="848"/>
                      </a:lnTo>
                      <a:lnTo>
                        <a:pt x="458" y="840"/>
                      </a:lnTo>
                      <a:lnTo>
                        <a:pt x="451" y="833"/>
                      </a:lnTo>
                      <a:lnTo>
                        <a:pt x="442" y="825"/>
                      </a:lnTo>
                      <a:lnTo>
                        <a:pt x="434" y="817"/>
                      </a:lnTo>
                      <a:lnTo>
                        <a:pt x="426" y="810"/>
                      </a:lnTo>
                      <a:lnTo>
                        <a:pt x="417" y="802"/>
                      </a:lnTo>
                      <a:lnTo>
                        <a:pt x="408" y="795"/>
                      </a:lnTo>
                      <a:lnTo>
                        <a:pt x="400" y="787"/>
                      </a:lnTo>
                      <a:lnTo>
                        <a:pt x="390" y="781"/>
                      </a:lnTo>
                      <a:lnTo>
                        <a:pt x="382" y="774"/>
                      </a:lnTo>
                      <a:lnTo>
                        <a:pt x="372" y="767"/>
                      </a:lnTo>
                      <a:lnTo>
                        <a:pt x="362" y="761"/>
                      </a:lnTo>
                      <a:lnTo>
                        <a:pt x="353" y="755"/>
                      </a:lnTo>
                      <a:lnTo>
                        <a:pt x="344" y="749"/>
                      </a:lnTo>
                      <a:lnTo>
                        <a:pt x="334" y="742"/>
                      </a:lnTo>
                      <a:lnTo>
                        <a:pt x="324" y="737"/>
                      </a:lnTo>
                      <a:lnTo>
                        <a:pt x="314" y="732"/>
                      </a:lnTo>
                      <a:lnTo>
                        <a:pt x="305" y="726"/>
                      </a:lnTo>
                      <a:lnTo>
                        <a:pt x="294" y="721"/>
                      </a:lnTo>
                      <a:lnTo>
                        <a:pt x="285" y="715"/>
                      </a:lnTo>
                      <a:lnTo>
                        <a:pt x="274" y="711"/>
                      </a:lnTo>
                      <a:lnTo>
                        <a:pt x="263" y="706"/>
                      </a:lnTo>
                      <a:lnTo>
                        <a:pt x="253" y="702"/>
                      </a:lnTo>
                      <a:lnTo>
                        <a:pt x="242" y="697"/>
                      </a:lnTo>
                      <a:lnTo>
                        <a:pt x="232" y="693"/>
                      </a:lnTo>
                      <a:lnTo>
                        <a:pt x="221" y="690"/>
                      </a:lnTo>
                      <a:lnTo>
                        <a:pt x="211" y="686"/>
                      </a:lnTo>
                      <a:lnTo>
                        <a:pt x="200" y="682"/>
                      </a:lnTo>
                      <a:lnTo>
                        <a:pt x="190" y="678"/>
                      </a:lnTo>
                      <a:lnTo>
                        <a:pt x="178" y="675"/>
                      </a:lnTo>
                      <a:lnTo>
                        <a:pt x="167" y="672"/>
                      </a:lnTo>
                      <a:lnTo>
                        <a:pt x="157" y="669"/>
                      </a:lnTo>
                      <a:lnTo>
                        <a:pt x="145" y="667"/>
                      </a:lnTo>
                      <a:lnTo>
                        <a:pt x="135" y="665"/>
                      </a:lnTo>
                      <a:lnTo>
                        <a:pt x="123" y="662"/>
                      </a:lnTo>
                      <a:lnTo>
                        <a:pt x="112" y="660"/>
                      </a:lnTo>
                      <a:lnTo>
                        <a:pt x="101" y="658"/>
                      </a:lnTo>
                      <a:lnTo>
                        <a:pt x="90" y="656"/>
                      </a:lnTo>
                      <a:lnTo>
                        <a:pt x="78" y="655"/>
                      </a:lnTo>
                      <a:lnTo>
                        <a:pt x="68" y="653"/>
                      </a:lnTo>
                      <a:lnTo>
                        <a:pt x="56" y="652"/>
                      </a:lnTo>
                      <a:lnTo>
                        <a:pt x="45" y="651"/>
                      </a:lnTo>
                      <a:lnTo>
                        <a:pt x="33" y="651"/>
                      </a:lnTo>
                      <a:lnTo>
                        <a:pt x="22" y="650"/>
                      </a:lnTo>
                      <a:lnTo>
                        <a:pt x="11" y="650"/>
                      </a:lnTo>
                      <a:lnTo>
                        <a:pt x="0" y="650"/>
                      </a:lnTo>
                      <a:lnTo>
                        <a:pt x="98" y="344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9050" cap="rnd">
                  <a:solidFill>
                    <a:srgbClr val="002D41"/>
                  </a:solidFill>
                  <a:round/>
                  <a:headEnd/>
                  <a:tailEnd/>
                </a:ln>
              </p:spPr>
              <p:txBody>
                <a:bodyPr lIns="72000" tIns="72000" rIns="72000" bIns="72000" anchor="ctr"/>
                <a:lstStyle/>
                <a:p>
                  <a:pPr>
                    <a:spcBef>
                      <a:spcPts val="800"/>
                    </a:spcBef>
                  </a:pPr>
                  <a:endParaRPr lang="de-DE" sz="800">
                    <a:latin typeface="+mn-lt"/>
                  </a:endParaRPr>
                </a:p>
              </p:txBody>
            </p:sp>
            <p:sp>
              <p:nvSpPr>
                <p:cNvPr id="50" name="Text Box 7">
                  <a:extLst>
                    <a:ext uri="{FF2B5EF4-FFF2-40B4-BE49-F238E27FC236}">
                      <a16:creationId xmlns:a16="http://schemas.microsoft.com/office/drawing/2014/main" id="{466A9489-6639-4BCB-8EBD-0563BB0440D0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 rot="2862967">
                  <a:off x="5575932" y="2302832"/>
                  <a:ext cx="1426637" cy="538272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0" tIns="0" rIns="0" bIns="0" anchor="ctr">
                  <a:spAutoFit/>
                </a:bodyPr>
                <a:lstStyle/>
                <a:p>
                  <a:pPr algn="ctr">
                    <a:spcBef>
                      <a:spcPts val="800"/>
                    </a:spcBef>
                    <a:buClrTx/>
                    <a:buSzTx/>
                    <a:buFontTx/>
                    <a:buNone/>
                  </a:pPr>
                  <a:r>
                    <a:rPr lang="de-DE" sz="800" dirty="0">
                      <a:latin typeface="+mn-lt"/>
                    </a:rPr>
                    <a:t>Wöchentlicher  OKR-Termin</a:t>
                  </a:r>
                </a:p>
              </p:txBody>
            </p:sp>
          </p:grpSp>
          <p:grpSp>
            <p:nvGrpSpPr>
              <p:cNvPr id="40" name="Gruppieren 39">
                <a:extLst>
                  <a:ext uri="{FF2B5EF4-FFF2-40B4-BE49-F238E27FC236}">
                    <a16:creationId xmlns:a16="http://schemas.microsoft.com/office/drawing/2014/main" id="{15FD6810-8C20-4F97-BD17-8922CB39B89D}"/>
                  </a:ext>
                </a:extLst>
              </p:cNvPr>
              <p:cNvGrpSpPr/>
              <p:nvPr/>
            </p:nvGrpSpPr>
            <p:grpSpPr>
              <a:xfrm>
                <a:off x="2586038" y="1403350"/>
                <a:ext cx="2560637" cy="2359025"/>
                <a:chOff x="2586038" y="1403350"/>
                <a:chExt cx="2560637" cy="2359025"/>
              </a:xfrm>
            </p:grpSpPr>
            <p:sp>
              <p:nvSpPr>
                <p:cNvPr id="47" name="Freeform 3">
                  <a:extLst>
                    <a:ext uri="{FF2B5EF4-FFF2-40B4-BE49-F238E27FC236}">
                      <a16:creationId xmlns:a16="http://schemas.microsoft.com/office/drawing/2014/main" id="{9D454E31-2B64-4578-9399-48A196418D73}"/>
                    </a:ext>
                  </a:extLst>
                </p:cNvPr>
                <p:cNvSpPr>
                  <a:spLocks/>
                </p:cNvSpPr>
                <p:nvPr>
                  <p:custDataLst>
                    <p:tags r:id="rId5"/>
                  </p:custDataLst>
                </p:nvPr>
              </p:nvSpPr>
              <p:spPr bwMode="auto">
                <a:xfrm>
                  <a:off x="2586038" y="1403350"/>
                  <a:ext cx="2560637" cy="2359025"/>
                </a:xfrm>
                <a:custGeom>
                  <a:avLst/>
                  <a:gdLst>
                    <a:gd name="T0" fmla="*/ 1 w 1399"/>
                    <a:gd name="T1" fmla="*/ 1254 h 1301"/>
                    <a:gd name="T2" fmla="*/ 5 w 1399"/>
                    <a:gd name="T3" fmla="*/ 1187 h 1301"/>
                    <a:gd name="T4" fmla="*/ 12 w 1399"/>
                    <a:gd name="T5" fmla="*/ 1119 h 1301"/>
                    <a:gd name="T6" fmla="*/ 24 w 1399"/>
                    <a:gd name="T7" fmla="*/ 1051 h 1301"/>
                    <a:gd name="T8" fmla="*/ 38 w 1399"/>
                    <a:gd name="T9" fmla="*/ 985 h 1301"/>
                    <a:gd name="T10" fmla="*/ 57 w 1399"/>
                    <a:gd name="T11" fmla="*/ 920 h 1301"/>
                    <a:gd name="T12" fmla="*/ 78 w 1399"/>
                    <a:gd name="T13" fmla="*/ 856 h 1301"/>
                    <a:gd name="T14" fmla="*/ 103 w 1399"/>
                    <a:gd name="T15" fmla="*/ 792 h 1301"/>
                    <a:gd name="T16" fmla="*/ 131 w 1399"/>
                    <a:gd name="T17" fmla="*/ 730 h 1301"/>
                    <a:gd name="T18" fmla="*/ 163 w 1399"/>
                    <a:gd name="T19" fmla="*/ 669 h 1301"/>
                    <a:gd name="T20" fmla="*/ 197 w 1399"/>
                    <a:gd name="T21" fmla="*/ 611 h 1301"/>
                    <a:gd name="T22" fmla="*/ 235 w 1399"/>
                    <a:gd name="T23" fmla="*/ 554 h 1301"/>
                    <a:gd name="T24" fmla="*/ 275 w 1399"/>
                    <a:gd name="T25" fmla="*/ 499 h 1301"/>
                    <a:gd name="T26" fmla="*/ 319 w 1399"/>
                    <a:gd name="T27" fmla="*/ 447 h 1301"/>
                    <a:gd name="T28" fmla="*/ 365 w 1399"/>
                    <a:gd name="T29" fmla="*/ 397 h 1301"/>
                    <a:gd name="T30" fmla="*/ 413 w 1399"/>
                    <a:gd name="T31" fmla="*/ 350 h 1301"/>
                    <a:gd name="T32" fmla="*/ 463 w 1399"/>
                    <a:gd name="T33" fmla="*/ 305 h 1301"/>
                    <a:gd name="T34" fmla="*/ 517 w 1399"/>
                    <a:gd name="T35" fmla="*/ 261 h 1301"/>
                    <a:gd name="T36" fmla="*/ 573 w 1399"/>
                    <a:gd name="T37" fmla="*/ 222 h 1301"/>
                    <a:gd name="T38" fmla="*/ 630 w 1399"/>
                    <a:gd name="T39" fmla="*/ 186 h 1301"/>
                    <a:gd name="T40" fmla="*/ 689 w 1399"/>
                    <a:gd name="T41" fmla="*/ 152 h 1301"/>
                    <a:gd name="T42" fmla="*/ 750 w 1399"/>
                    <a:gd name="T43" fmla="*/ 122 h 1301"/>
                    <a:gd name="T44" fmla="*/ 813 w 1399"/>
                    <a:gd name="T45" fmla="*/ 94 h 1301"/>
                    <a:gd name="T46" fmla="*/ 876 w 1399"/>
                    <a:gd name="T47" fmla="*/ 71 h 1301"/>
                    <a:gd name="T48" fmla="*/ 941 w 1399"/>
                    <a:gd name="T49" fmla="*/ 50 h 1301"/>
                    <a:gd name="T50" fmla="*/ 1007 w 1399"/>
                    <a:gd name="T51" fmla="*/ 33 h 1301"/>
                    <a:gd name="T52" fmla="*/ 1074 w 1399"/>
                    <a:gd name="T53" fmla="*/ 20 h 1301"/>
                    <a:gd name="T54" fmla="*/ 1141 w 1399"/>
                    <a:gd name="T55" fmla="*/ 10 h 1301"/>
                    <a:gd name="T56" fmla="*/ 1208 w 1399"/>
                    <a:gd name="T57" fmla="*/ 3 h 1301"/>
                    <a:gd name="T58" fmla="*/ 1276 w 1399"/>
                    <a:gd name="T59" fmla="*/ 0 h 1301"/>
                    <a:gd name="T60" fmla="*/ 1300 w 1399"/>
                    <a:gd name="T61" fmla="*/ 650 h 1301"/>
                    <a:gd name="T62" fmla="*/ 1265 w 1399"/>
                    <a:gd name="T63" fmla="*/ 651 h 1301"/>
                    <a:gd name="T64" fmla="*/ 1231 w 1399"/>
                    <a:gd name="T65" fmla="*/ 653 h 1301"/>
                    <a:gd name="T66" fmla="*/ 1198 w 1399"/>
                    <a:gd name="T67" fmla="*/ 658 h 1301"/>
                    <a:gd name="T68" fmla="*/ 1164 w 1399"/>
                    <a:gd name="T69" fmla="*/ 665 h 1301"/>
                    <a:gd name="T70" fmla="*/ 1132 w 1399"/>
                    <a:gd name="T71" fmla="*/ 672 h 1301"/>
                    <a:gd name="T72" fmla="*/ 1099 w 1399"/>
                    <a:gd name="T73" fmla="*/ 682 h 1301"/>
                    <a:gd name="T74" fmla="*/ 1066 w 1399"/>
                    <a:gd name="T75" fmla="*/ 693 h 1301"/>
                    <a:gd name="T76" fmla="*/ 1035 w 1399"/>
                    <a:gd name="T77" fmla="*/ 706 h 1301"/>
                    <a:gd name="T78" fmla="*/ 1004 w 1399"/>
                    <a:gd name="T79" fmla="*/ 721 h 1301"/>
                    <a:gd name="T80" fmla="*/ 974 w 1399"/>
                    <a:gd name="T81" fmla="*/ 737 h 1301"/>
                    <a:gd name="T82" fmla="*/ 945 w 1399"/>
                    <a:gd name="T83" fmla="*/ 755 h 1301"/>
                    <a:gd name="T84" fmla="*/ 917 w 1399"/>
                    <a:gd name="T85" fmla="*/ 774 h 1301"/>
                    <a:gd name="T86" fmla="*/ 891 w 1399"/>
                    <a:gd name="T87" fmla="*/ 795 h 1301"/>
                    <a:gd name="T88" fmla="*/ 865 w 1399"/>
                    <a:gd name="T89" fmla="*/ 817 h 1301"/>
                    <a:gd name="T90" fmla="*/ 840 w 1399"/>
                    <a:gd name="T91" fmla="*/ 840 h 1301"/>
                    <a:gd name="T92" fmla="*/ 817 w 1399"/>
                    <a:gd name="T93" fmla="*/ 865 h 1301"/>
                    <a:gd name="T94" fmla="*/ 795 w 1399"/>
                    <a:gd name="T95" fmla="*/ 891 h 1301"/>
                    <a:gd name="T96" fmla="*/ 774 w 1399"/>
                    <a:gd name="T97" fmla="*/ 918 h 1301"/>
                    <a:gd name="T98" fmla="*/ 754 w 1399"/>
                    <a:gd name="T99" fmla="*/ 946 h 1301"/>
                    <a:gd name="T100" fmla="*/ 736 w 1399"/>
                    <a:gd name="T101" fmla="*/ 975 h 1301"/>
                    <a:gd name="T102" fmla="*/ 721 w 1399"/>
                    <a:gd name="T103" fmla="*/ 1004 h 1301"/>
                    <a:gd name="T104" fmla="*/ 705 w 1399"/>
                    <a:gd name="T105" fmla="*/ 1035 h 1301"/>
                    <a:gd name="T106" fmla="*/ 693 w 1399"/>
                    <a:gd name="T107" fmla="*/ 1067 h 1301"/>
                    <a:gd name="T108" fmla="*/ 681 w 1399"/>
                    <a:gd name="T109" fmla="*/ 1099 h 1301"/>
                    <a:gd name="T110" fmla="*/ 672 w 1399"/>
                    <a:gd name="T111" fmla="*/ 1132 h 1301"/>
                    <a:gd name="T112" fmla="*/ 664 w 1399"/>
                    <a:gd name="T113" fmla="*/ 1165 h 1301"/>
                    <a:gd name="T114" fmla="*/ 657 w 1399"/>
                    <a:gd name="T115" fmla="*/ 1198 h 1301"/>
                    <a:gd name="T116" fmla="*/ 653 w 1399"/>
                    <a:gd name="T117" fmla="*/ 1232 h 1301"/>
                    <a:gd name="T118" fmla="*/ 651 w 1399"/>
                    <a:gd name="T119" fmla="*/ 1265 h 1301"/>
                    <a:gd name="T120" fmla="*/ 650 w 1399"/>
                    <a:gd name="T121" fmla="*/ 1300 h 1301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399"/>
                    <a:gd name="T184" fmla="*/ 0 h 1301"/>
                    <a:gd name="T185" fmla="*/ 1399 w 1399"/>
                    <a:gd name="T186" fmla="*/ 1301 h 1301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399" h="1301">
                      <a:moveTo>
                        <a:pt x="0" y="1300"/>
                      </a:moveTo>
                      <a:lnTo>
                        <a:pt x="0" y="1277"/>
                      </a:lnTo>
                      <a:lnTo>
                        <a:pt x="1" y="1254"/>
                      </a:lnTo>
                      <a:lnTo>
                        <a:pt x="2" y="1232"/>
                      </a:lnTo>
                      <a:lnTo>
                        <a:pt x="3" y="1209"/>
                      </a:lnTo>
                      <a:lnTo>
                        <a:pt x="5" y="1187"/>
                      </a:lnTo>
                      <a:lnTo>
                        <a:pt x="7" y="1164"/>
                      </a:lnTo>
                      <a:lnTo>
                        <a:pt x="9" y="1142"/>
                      </a:lnTo>
                      <a:lnTo>
                        <a:pt x="12" y="1119"/>
                      </a:lnTo>
                      <a:lnTo>
                        <a:pt x="15" y="1097"/>
                      </a:lnTo>
                      <a:lnTo>
                        <a:pt x="19" y="1074"/>
                      </a:lnTo>
                      <a:lnTo>
                        <a:pt x="24" y="1051"/>
                      </a:lnTo>
                      <a:lnTo>
                        <a:pt x="28" y="1029"/>
                      </a:lnTo>
                      <a:lnTo>
                        <a:pt x="33" y="1007"/>
                      </a:lnTo>
                      <a:lnTo>
                        <a:pt x="38" y="985"/>
                      </a:lnTo>
                      <a:lnTo>
                        <a:pt x="44" y="963"/>
                      </a:lnTo>
                      <a:lnTo>
                        <a:pt x="50" y="942"/>
                      </a:lnTo>
                      <a:lnTo>
                        <a:pt x="57" y="920"/>
                      </a:lnTo>
                      <a:lnTo>
                        <a:pt x="63" y="898"/>
                      </a:lnTo>
                      <a:lnTo>
                        <a:pt x="71" y="877"/>
                      </a:lnTo>
                      <a:lnTo>
                        <a:pt x="78" y="856"/>
                      </a:lnTo>
                      <a:lnTo>
                        <a:pt x="86" y="834"/>
                      </a:lnTo>
                      <a:lnTo>
                        <a:pt x="94" y="813"/>
                      </a:lnTo>
                      <a:lnTo>
                        <a:pt x="103" y="792"/>
                      </a:lnTo>
                      <a:lnTo>
                        <a:pt x="112" y="771"/>
                      </a:lnTo>
                      <a:lnTo>
                        <a:pt x="122" y="751"/>
                      </a:lnTo>
                      <a:lnTo>
                        <a:pt x="131" y="730"/>
                      </a:lnTo>
                      <a:lnTo>
                        <a:pt x="141" y="710"/>
                      </a:lnTo>
                      <a:lnTo>
                        <a:pt x="152" y="690"/>
                      </a:lnTo>
                      <a:lnTo>
                        <a:pt x="163" y="669"/>
                      </a:lnTo>
                      <a:lnTo>
                        <a:pt x="174" y="650"/>
                      </a:lnTo>
                      <a:lnTo>
                        <a:pt x="185" y="630"/>
                      </a:lnTo>
                      <a:lnTo>
                        <a:pt x="197" y="611"/>
                      </a:lnTo>
                      <a:lnTo>
                        <a:pt x="209" y="592"/>
                      </a:lnTo>
                      <a:lnTo>
                        <a:pt x="222" y="573"/>
                      </a:lnTo>
                      <a:lnTo>
                        <a:pt x="235" y="554"/>
                      </a:lnTo>
                      <a:lnTo>
                        <a:pt x="248" y="536"/>
                      </a:lnTo>
                      <a:lnTo>
                        <a:pt x="261" y="518"/>
                      </a:lnTo>
                      <a:lnTo>
                        <a:pt x="275" y="499"/>
                      </a:lnTo>
                      <a:lnTo>
                        <a:pt x="289" y="482"/>
                      </a:lnTo>
                      <a:lnTo>
                        <a:pt x="304" y="464"/>
                      </a:lnTo>
                      <a:lnTo>
                        <a:pt x="319" y="447"/>
                      </a:lnTo>
                      <a:lnTo>
                        <a:pt x="334" y="430"/>
                      </a:lnTo>
                      <a:lnTo>
                        <a:pt x="349" y="413"/>
                      </a:lnTo>
                      <a:lnTo>
                        <a:pt x="365" y="397"/>
                      </a:lnTo>
                      <a:lnTo>
                        <a:pt x="380" y="380"/>
                      </a:lnTo>
                      <a:lnTo>
                        <a:pt x="396" y="365"/>
                      </a:lnTo>
                      <a:lnTo>
                        <a:pt x="413" y="350"/>
                      </a:lnTo>
                      <a:lnTo>
                        <a:pt x="430" y="334"/>
                      </a:lnTo>
                      <a:lnTo>
                        <a:pt x="446" y="319"/>
                      </a:lnTo>
                      <a:lnTo>
                        <a:pt x="463" y="305"/>
                      </a:lnTo>
                      <a:lnTo>
                        <a:pt x="482" y="289"/>
                      </a:lnTo>
                      <a:lnTo>
                        <a:pt x="499" y="276"/>
                      </a:lnTo>
                      <a:lnTo>
                        <a:pt x="517" y="261"/>
                      </a:lnTo>
                      <a:lnTo>
                        <a:pt x="535" y="248"/>
                      </a:lnTo>
                      <a:lnTo>
                        <a:pt x="554" y="236"/>
                      </a:lnTo>
                      <a:lnTo>
                        <a:pt x="573" y="222"/>
                      </a:lnTo>
                      <a:lnTo>
                        <a:pt x="591" y="210"/>
                      </a:lnTo>
                      <a:lnTo>
                        <a:pt x="610" y="197"/>
                      </a:lnTo>
                      <a:lnTo>
                        <a:pt x="630" y="186"/>
                      </a:lnTo>
                      <a:lnTo>
                        <a:pt x="650" y="174"/>
                      </a:lnTo>
                      <a:lnTo>
                        <a:pt x="669" y="164"/>
                      </a:lnTo>
                      <a:lnTo>
                        <a:pt x="689" y="152"/>
                      </a:lnTo>
                      <a:lnTo>
                        <a:pt x="709" y="141"/>
                      </a:lnTo>
                      <a:lnTo>
                        <a:pt x="729" y="132"/>
                      </a:lnTo>
                      <a:lnTo>
                        <a:pt x="750" y="122"/>
                      </a:lnTo>
                      <a:lnTo>
                        <a:pt x="771" y="113"/>
                      </a:lnTo>
                      <a:lnTo>
                        <a:pt x="792" y="103"/>
                      </a:lnTo>
                      <a:lnTo>
                        <a:pt x="813" y="94"/>
                      </a:lnTo>
                      <a:lnTo>
                        <a:pt x="834" y="87"/>
                      </a:lnTo>
                      <a:lnTo>
                        <a:pt x="855" y="78"/>
                      </a:lnTo>
                      <a:lnTo>
                        <a:pt x="876" y="71"/>
                      </a:lnTo>
                      <a:lnTo>
                        <a:pt x="897" y="64"/>
                      </a:lnTo>
                      <a:lnTo>
                        <a:pt x="919" y="57"/>
                      </a:lnTo>
                      <a:lnTo>
                        <a:pt x="941" y="50"/>
                      </a:lnTo>
                      <a:lnTo>
                        <a:pt x="963" y="45"/>
                      </a:lnTo>
                      <a:lnTo>
                        <a:pt x="985" y="39"/>
                      </a:lnTo>
                      <a:lnTo>
                        <a:pt x="1007" y="33"/>
                      </a:lnTo>
                      <a:lnTo>
                        <a:pt x="1029" y="28"/>
                      </a:lnTo>
                      <a:lnTo>
                        <a:pt x="1051" y="24"/>
                      </a:lnTo>
                      <a:lnTo>
                        <a:pt x="1074" y="20"/>
                      </a:lnTo>
                      <a:lnTo>
                        <a:pt x="1096" y="16"/>
                      </a:lnTo>
                      <a:lnTo>
                        <a:pt x="1118" y="13"/>
                      </a:lnTo>
                      <a:lnTo>
                        <a:pt x="1141" y="10"/>
                      </a:lnTo>
                      <a:lnTo>
                        <a:pt x="1163" y="7"/>
                      </a:lnTo>
                      <a:lnTo>
                        <a:pt x="1186" y="5"/>
                      </a:lnTo>
                      <a:lnTo>
                        <a:pt x="1208" y="3"/>
                      </a:lnTo>
                      <a:lnTo>
                        <a:pt x="1231" y="2"/>
                      </a:lnTo>
                      <a:lnTo>
                        <a:pt x="1253" y="1"/>
                      </a:lnTo>
                      <a:lnTo>
                        <a:pt x="1276" y="0"/>
                      </a:lnTo>
                      <a:lnTo>
                        <a:pt x="1300" y="0"/>
                      </a:lnTo>
                      <a:lnTo>
                        <a:pt x="1398" y="344"/>
                      </a:lnTo>
                      <a:lnTo>
                        <a:pt x="1300" y="650"/>
                      </a:lnTo>
                      <a:lnTo>
                        <a:pt x="1288" y="650"/>
                      </a:lnTo>
                      <a:lnTo>
                        <a:pt x="1276" y="650"/>
                      </a:lnTo>
                      <a:lnTo>
                        <a:pt x="1265" y="651"/>
                      </a:lnTo>
                      <a:lnTo>
                        <a:pt x="1254" y="651"/>
                      </a:lnTo>
                      <a:lnTo>
                        <a:pt x="1243" y="652"/>
                      </a:lnTo>
                      <a:lnTo>
                        <a:pt x="1231" y="653"/>
                      </a:lnTo>
                      <a:lnTo>
                        <a:pt x="1220" y="655"/>
                      </a:lnTo>
                      <a:lnTo>
                        <a:pt x="1209" y="656"/>
                      </a:lnTo>
                      <a:lnTo>
                        <a:pt x="1198" y="658"/>
                      </a:lnTo>
                      <a:lnTo>
                        <a:pt x="1186" y="660"/>
                      </a:lnTo>
                      <a:lnTo>
                        <a:pt x="1176" y="662"/>
                      </a:lnTo>
                      <a:lnTo>
                        <a:pt x="1164" y="665"/>
                      </a:lnTo>
                      <a:lnTo>
                        <a:pt x="1153" y="667"/>
                      </a:lnTo>
                      <a:lnTo>
                        <a:pt x="1142" y="669"/>
                      </a:lnTo>
                      <a:lnTo>
                        <a:pt x="1132" y="672"/>
                      </a:lnTo>
                      <a:lnTo>
                        <a:pt x="1120" y="675"/>
                      </a:lnTo>
                      <a:lnTo>
                        <a:pt x="1109" y="678"/>
                      </a:lnTo>
                      <a:lnTo>
                        <a:pt x="1099" y="682"/>
                      </a:lnTo>
                      <a:lnTo>
                        <a:pt x="1087" y="686"/>
                      </a:lnTo>
                      <a:lnTo>
                        <a:pt x="1077" y="690"/>
                      </a:lnTo>
                      <a:lnTo>
                        <a:pt x="1066" y="693"/>
                      </a:lnTo>
                      <a:lnTo>
                        <a:pt x="1056" y="697"/>
                      </a:lnTo>
                      <a:lnTo>
                        <a:pt x="1045" y="702"/>
                      </a:lnTo>
                      <a:lnTo>
                        <a:pt x="1035" y="706"/>
                      </a:lnTo>
                      <a:lnTo>
                        <a:pt x="1025" y="711"/>
                      </a:lnTo>
                      <a:lnTo>
                        <a:pt x="1014" y="715"/>
                      </a:lnTo>
                      <a:lnTo>
                        <a:pt x="1004" y="721"/>
                      </a:lnTo>
                      <a:lnTo>
                        <a:pt x="994" y="726"/>
                      </a:lnTo>
                      <a:lnTo>
                        <a:pt x="985" y="732"/>
                      </a:lnTo>
                      <a:lnTo>
                        <a:pt x="974" y="737"/>
                      </a:lnTo>
                      <a:lnTo>
                        <a:pt x="965" y="742"/>
                      </a:lnTo>
                      <a:lnTo>
                        <a:pt x="955" y="749"/>
                      </a:lnTo>
                      <a:lnTo>
                        <a:pt x="945" y="755"/>
                      </a:lnTo>
                      <a:lnTo>
                        <a:pt x="936" y="761"/>
                      </a:lnTo>
                      <a:lnTo>
                        <a:pt x="926" y="767"/>
                      </a:lnTo>
                      <a:lnTo>
                        <a:pt x="917" y="774"/>
                      </a:lnTo>
                      <a:lnTo>
                        <a:pt x="908" y="781"/>
                      </a:lnTo>
                      <a:lnTo>
                        <a:pt x="899" y="787"/>
                      </a:lnTo>
                      <a:lnTo>
                        <a:pt x="891" y="795"/>
                      </a:lnTo>
                      <a:lnTo>
                        <a:pt x="882" y="802"/>
                      </a:lnTo>
                      <a:lnTo>
                        <a:pt x="873" y="810"/>
                      </a:lnTo>
                      <a:lnTo>
                        <a:pt x="865" y="817"/>
                      </a:lnTo>
                      <a:lnTo>
                        <a:pt x="856" y="825"/>
                      </a:lnTo>
                      <a:lnTo>
                        <a:pt x="847" y="833"/>
                      </a:lnTo>
                      <a:lnTo>
                        <a:pt x="840" y="840"/>
                      </a:lnTo>
                      <a:lnTo>
                        <a:pt x="832" y="848"/>
                      </a:lnTo>
                      <a:lnTo>
                        <a:pt x="824" y="857"/>
                      </a:lnTo>
                      <a:lnTo>
                        <a:pt x="817" y="865"/>
                      </a:lnTo>
                      <a:lnTo>
                        <a:pt x="809" y="874"/>
                      </a:lnTo>
                      <a:lnTo>
                        <a:pt x="801" y="882"/>
                      </a:lnTo>
                      <a:lnTo>
                        <a:pt x="795" y="891"/>
                      </a:lnTo>
                      <a:lnTo>
                        <a:pt x="787" y="900"/>
                      </a:lnTo>
                      <a:lnTo>
                        <a:pt x="780" y="908"/>
                      </a:lnTo>
                      <a:lnTo>
                        <a:pt x="774" y="918"/>
                      </a:lnTo>
                      <a:lnTo>
                        <a:pt x="767" y="927"/>
                      </a:lnTo>
                      <a:lnTo>
                        <a:pt x="760" y="936"/>
                      </a:lnTo>
                      <a:lnTo>
                        <a:pt x="754" y="946"/>
                      </a:lnTo>
                      <a:lnTo>
                        <a:pt x="749" y="955"/>
                      </a:lnTo>
                      <a:lnTo>
                        <a:pt x="742" y="965"/>
                      </a:lnTo>
                      <a:lnTo>
                        <a:pt x="736" y="975"/>
                      </a:lnTo>
                      <a:lnTo>
                        <a:pt x="731" y="985"/>
                      </a:lnTo>
                      <a:lnTo>
                        <a:pt x="726" y="995"/>
                      </a:lnTo>
                      <a:lnTo>
                        <a:pt x="721" y="1004"/>
                      </a:lnTo>
                      <a:lnTo>
                        <a:pt x="715" y="1015"/>
                      </a:lnTo>
                      <a:lnTo>
                        <a:pt x="710" y="1025"/>
                      </a:lnTo>
                      <a:lnTo>
                        <a:pt x="705" y="1035"/>
                      </a:lnTo>
                      <a:lnTo>
                        <a:pt x="702" y="1046"/>
                      </a:lnTo>
                      <a:lnTo>
                        <a:pt x="697" y="1056"/>
                      </a:lnTo>
                      <a:lnTo>
                        <a:pt x="693" y="1067"/>
                      </a:lnTo>
                      <a:lnTo>
                        <a:pt x="689" y="1077"/>
                      </a:lnTo>
                      <a:lnTo>
                        <a:pt x="685" y="1088"/>
                      </a:lnTo>
                      <a:lnTo>
                        <a:pt x="681" y="1099"/>
                      </a:lnTo>
                      <a:lnTo>
                        <a:pt x="678" y="1110"/>
                      </a:lnTo>
                      <a:lnTo>
                        <a:pt x="675" y="1121"/>
                      </a:lnTo>
                      <a:lnTo>
                        <a:pt x="672" y="1132"/>
                      </a:lnTo>
                      <a:lnTo>
                        <a:pt x="669" y="1143"/>
                      </a:lnTo>
                      <a:lnTo>
                        <a:pt x="666" y="1153"/>
                      </a:lnTo>
                      <a:lnTo>
                        <a:pt x="664" y="1165"/>
                      </a:lnTo>
                      <a:lnTo>
                        <a:pt x="661" y="1176"/>
                      </a:lnTo>
                      <a:lnTo>
                        <a:pt x="659" y="1187"/>
                      </a:lnTo>
                      <a:lnTo>
                        <a:pt x="657" y="1198"/>
                      </a:lnTo>
                      <a:lnTo>
                        <a:pt x="655" y="1210"/>
                      </a:lnTo>
                      <a:lnTo>
                        <a:pt x="654" y="1220"/>
                      </a:lnTo>
                      <a:lnTo>
                        <a:pt x="653" y="1232"/>
                      </a:lnTo>
                      <a:lnTo>
                        <a:pt x="652" y="1243"/>
                      </a:lnTo>
                      <a:lnTo>
                        <a:pt x="651" y="1255"/>
                      </a:lnTo>
                      <a:lnTo>
                        <a:pt x="651" y="1265"/>
                      </a:lnTo>
                      <a:lnTo>
                        <a:pt x="650" y="1277"/>
                      </a:lnTo>
                      <a:lnTo>
                        <a:pt x="650" y="1289"/>
                      </a:lnTo>
                      <a:lnTo>
                        <a:pt x="650" y="1300"/>
                      </a:lnTo>
                      <a:lnTo>
                        <a:pt x="342" y="1208"/>
                      </a:lnTo>
                      <a:lnTo>
                        <a:pt x="0" y="1300"/>
                      </a:lnTo>
                    </a:path>
                  </a:pathLst>
                </a:custGeom>
                <a:noFill/>
                <a:ln w="19050" cap="rnd">
                  <a:solidFill>
                    <a:srgbClr val="002D41"/>
                  </a:solidFill>
                  <a:round/>
                  <a:headEnd/>
                  <a:tailEnd/>
                </a:ln>
              </p:spPr>
              <p:txBody>
                <a:bodyPr lIns="72000" tIns="72000" rIns="72000" bIns="72000" anchor="ctr"/>
                <a:lstStyle/>
                <a:p>
                  <a:pPr>
                    <a:spcBef>
                      <a:spcPts val="800"/>
                    </a:spcBef>
                  </a:pPr>
                  <a:endParaRPr lang="de-DE" sz="800">
                    <a:latin typeface="+mn-lt"/>
                  </a:endParaRPr>
                </a:p>
              </p:txBody>
            </p:sp>
            <p:sp>
              <p:nvSpPr>
                <p:cNvPr id="48" name="Text Box 8">
                  <a:extLst>
                    <a:ext uri="{FF2B5EF4-FFF2-40B4-BE49-F238E27FC236}">
                      <a16:creationId xmlns:a16="http://schemas.microsoft.com/office/drawing/2014/main" id="{B7A3FA94-3ADB-4192-B7A0-019947D383C3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 rot="2862967">
                  <a:off x="3145484" y="2335950"/>
                  <a:ext cx="949659" cy="538272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0" tIns="0" rIns="0" bIns="0" anchor="ctr">
                  <a:spAutoFit/>
                </a:bodyPr>
                <a:lstStyle/>
                <a:p>
                  <a:pPr algn="ctr">
                    <a:spcBef>
                      <a:spcPts val="800"/>
                    </a:spcBef>
                    <a:buClrTx/>
                    <a:buSzTx/>
                    <a:buFontTx/>
                    <a:buNone/>
                  </a:pPr>
                  <a:r>
                    <a:rPr lang="de-DE" sz="800">
                      <a:latin typeface="+mn-lt"/>
                    </a:rPr>
                    <a:t>OKR Planung</a:t>
                  </a:r>
                </a:p>
              </p:txBody>
            </p:sp>
          </p:grpSp>
          <p:grpSp>
            <p:nvGrpSpPr>
              <p:cNvPr id="41" name="Gruppieren 24">
                <a:extLst>
                  <a:ext uri="{FF2B5EF4-FFF2-40B4-BE49-F238E27FC236}">
                    <a16:creationId xmlns:a16="http://schemas.microsoft.com/office/drawing/2014/main" id="{A6C3FACF-3272-4A8D-9EF3-1B23163BEB43}"/>
                  </a:ext>
                </a:extLst>
              </p:cNvPr>
              <p:cNvGrpSpPr/>
              <p:nvPr/>
            </p:nvGrpSpPr>
            <p:grpSpPr>
              <a:xfrm>
                <a:off x="2586038" y="3594100"/>
                <a:ext cx="2381250" cy="2525713"/>
                <a:chOff x="2586038" y="3594100"/>
                <a:chExt cx="2381250" cy="2525713"/>
              </a:xfrm>
            </p:grpSpPr>
            <p:sp>
              <p:nvSpPr>
                <p:cNvPr id="45" name="Freeform 4">
                  <a:extLst>
                    <a:ext uri="{FF2B5EF4-FFF2-40B4-BE49-F238E27FC236}">
                      <a16:creationId xmlns:a16="http://schemas.microsoft.com/office/drawing/2014/main" id="{2B6AB316-4093-4627-B7F5-7F259E4E381F}"/>
                    </a:ext>
                  </a:extLst>
                </p:cNvPr>
                <p:cNvSpPr>
                  <a:spLocks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2586038" y="3594100"/>
                  <a:ext cx="2381250" cy="2525713"/>
                </a:xfrm>
                <a:custGeom>
                  <a:avLst/>
                  <a:gdLst>
                    <a:gd name="T0" fmla="*/ 1253 w 1301"/>
                    <a:gd name="T1" fmla="*/ 1391 h 1393"/>
                    <a:gd name="T2" fmla="*/ 1186 w 1301"/>
                    <a:gd name="T3" fmla="*/ 1387 h 1393"/>
                    <a:gd name="T4" fmla="*/ 1118 w 1301"/>
                    <a:gd name="T5" fmla="*/ 1379 h 1393"/>
                    <a:gd name="T6" fmla="*/ 1051 w 1301"/>
                    <a:gd name="T7" fmla="*/ 1368 h 1393"/>
                    <a:gd name="T8" fmla="*/ 985 w 1301"/>
                    <a:gd name="T9" fmla="*/ 1353 h 1393"/>
                    <a:gd name="T10" fmla="*/ 919 w 1301"/>
                    <a:gd name="T11" fmla="*/ 1335 h 1393"/>
                    <a:gd name="T12" fmla="*/ 855 w 1301"/>
                    <a:gd name="T13" fmla="*/ 1313 h 1393"/>
                    <a:gd name="T14" fmla="*/ 792 w 1301"/>
                    <a:gd name="T15" fmla="*/ 1288 h 1393"/>
                    <a:gd name="T16" fmla="*/ 729 w 1301"/>
                    <a:gd name="T17" fmla="*/ 1260 h 1393"/>
                    <a:gd name="T18" fmla="*/ 669 w 1301"/>
                    <a:gd name="T19" fmla="*/ 1229 h 1393"/>
                    <a:gd name="T20" fmla="*/ 610 w 1301"/>
                    <a:gd name="T21" fmla="*/ 1194 h 1393"/>
                    <a:gd name="T22" fmla="*/ 554 w 1301"/>
                    <a:gd name="T23" fmla="*/ 1157 h 1393"/>
                    <a:gd name="T24" fmla="*/ 499 w 1301"/>
                    <a:gd name="T25" fmla="*/ 1116 h 1393"/>
                    <a:gd name="T26" fmla="*/ 446 w 1301"/>
                    <a:gd name="T27" fmla="*/ 1073 h 1393"/>
                    <a:gd name="T28" fmla="*/ 396 w 1301"/>
                    <a:gd name="T29" fmla="*/ 1027 h 1393"/>
                    <a:gd name="T30" fmla="*/ 349 w 1301"/>
                    <a:gd name="T31" fmla="*/ 978 h 1393"/>
                    <a:gd name="T32" fmla="*/ 304 w 1301"/>
                    <a:gd name="T33" fmla="*/ 927 h 1393"/>
                    <a:gd name="T34" fmla="*/ 261 w 1301"/>
                    <a:gd name="T35" fmla="*/ 874 h 1393"/>
                    <a:gd name="T36" fmla="*/ 222 w 1301"/>
                    <a:gd name="T37" fmla="*/ 819 h 1393"/>
                    <a:gd name="T38" fmla="*/ 185 w 1301"/>
                    <a:gd name="T39" fmla="*/ 761 h 1393"/>
                    <a:gd name="T40" fmla="*/ 152 w 1301"/>
                    <a:gd name="T41" fmla="*/ 702 h 1393"/>
                    <a:gd name="T42" fmla="*/ 122 w 1301"/>
                    <a:gd name="T43" fmla="*/ 641 h 1393"/>
                    <a:gd name="T44" fmla="*/ 94 w 1301"/>
                    <a:gd name="T45" fmla="*/ 579 h 1393"/>
                    <a:gd name="T46" fmla="*/ 71 w 1301"/>
                    <a:gd name="T47" fmla="*/ 515 h 1393"/>
                    <a:gd name="T48" fmla="*/ 50 w 1301"/>
                    <a:gd name="T49" fmla="*/ 450 h 1393"/>
                    <a:gd name="T50" fmla="*/ 33 w 1301"/>
                    <a:gd name="T51" fmla="*/ 384 h 1393"/>
                    <a:gd name="T52" fmla="*/ 19 w 1301"/>
                    <a:gd name="T53" fmla="*/ 318 h 1393"/>
                    <a:gd name="T54" fmla="*/ 9 w 1301"/>
                    <a:gd name="T55" fmla="*/ 250 h 1393"/>
                    <a:gd name="T56" fmla="*/ 3 w 1301"/>
                    <a:gd name="T57" fmla="*/ 182 h 1393"/>
                    <a:gd name="T58" fmla="*/ 0 w 1301"/>
                    <a:gd name="T59" fmla="*/ 114 h 1393"/>
                    <a:gd name="T60" fmla="*/ 650 w 1301"/>
                    <a:gd name="T61" fmla="*/ 92 h 1393"/>
                    <a:gd name="T62" fmla="*/ 651 w 1301"/>
                    <a:gd name="T63" fmla="*/ 126 h 1393"/>
                    <a:gd name="T64" fmla="*/ 653 w 1301"/>
                    <a:gd name="T65" fmla="*/ 160 h 1393"/>
                    <a:gd name="T66" fmla="*/ 657 w 1301"/>
                    <a:gd name="T67" fmla="*/ 194 h 1393"/>
                    <a:gd name="T68" fmla="*/ 664 w 1301"/>
                    <a:gd name="T69" fmla="*/ 227 h 1393"/>
                    <a:gd name="T70" fmla="*/ 672 w 1301"/>
                    <a:gd name="T71" fmla="*/ 260 h 1393"/>
                    <a:gd name="T72" fmla="*/ 681 w 1301"/>
                    <a:gd name="T73" fmla="*/ 293 h 1393"/>
                    <a:gd name="T74" fmla="*/ 693 w 1301"/>
                    <a:gd name="T75" fmla="*/ 324 h 1393"/>
                    <a:gd name="T76" fmla="*/ 705 w 1301"/>
                    <a:gd name="T77" fmla="*/ 356 h 1393"/>
                    <a:gd name="T78" fmla="*/ 721 w 1301"/>
                    <a:gd name="T79" fmla="*/ 387 h 1393"/>
                    <a:gd name="T80" fmla="*/ 736 w 1301"/>
                    <a:gd name="T81" fmla="*/ 416 h 1393"/>
                    <a:gd name="T82" fmla="*/ 754 w 1301"/>
                    <a:gd name="T83" fmla="*/ 445 h 1393"/>
                    <a:gd name="T84" fmla="*/ 774 w 1301"/>
                    <a:gd name="T85" fmla="*/ 474 h 1393"/>
                    <a:gd name="T86" fmla="*/ 795 w 1301"/>
                    <a:gd name="T87" fmla="*/ 501 h 1393"/>
                    <a:gd name="T88" fmla="*/ 817 w 1301"/>
                    <a:gd name="T89" fmla="*/ 527 h 1393"/>
                    <a:gd name="T90" fmla="*/ 840 w 1301"/>
                    <a:gd name="T91" fmla="*/ 551 h 1393"/>
                    <a:gd name="T92" fmla="*/ 865 w 1301"/>
                    <a:gd name="T93" fmla="*/ 575 h 1393"/>
                    <a:gd name="T94" fmla="*/ 891 w 1301"/>
                    <a:gd name="T95" fmla="*/ 597 h 1393"/>
                    <a:gd name="T96" fmla="*/ 917 w 1301"/>
                    <a:gd name="T97" fmla="*/ 617 h 1393"/>
                    <a:gd name="T98" fmla="*/ 945 w 1301"/>
                    <a:gd name="T99" fmla="*/ 637 h 1393"/>
                    <a:gd name="T100" fmla="*/ 974 w 1301"/>
                    <a:gd name="T101" fmla="*/ 655 h 1393"/>
                    <a:gd name="T102" fmla="*/ 1004 w 1301"/>
                    <a:gd name="T103" fmla="*/ 671 h 1393"/>
                    <a:gd name="T104" fmla="*/ 1035 w 1301"/>
                    <a:gd name="T105" fmla="*/ 685 h 1393"/>
                    <a:gd name="T106" fmla="*/ 1066 w 1301"/>
                    <a:gd name="T107" fmla="*/ 699 h 1393"/>
                    <a:gd name="T108" fmla="*/ 1099 w 1301"/>
                    <a:gd name="T109" fmla="*/ 710 h 1393"/>
                    <a:gd name="T110" fmla="*/ 1132 w 1301"/>
                    <a:gd name="T111" fmla="*/ 720 h 1393"/>
                    <a:gd name="T112" fmla="*/ 1164 w 1301"/>
                    <a:gd name="T113" fmla="*/ 727 h 1393"/>
                    <a:gd name="T114" fmla="*/ 1198 w 1301"/>
                    <a:gd name="T115" fmla="*/ 733 h 1393"/>
                    <a:gd name="T116" fmla="*/ 1231 w 1301"/>
                    <a:gd name="T117" fmla="*/ 738 h 1393"/>
                    <a:gd name="T118" fmla="*/ 1265 w 1301"/>
                    <a:gd name="T119" fmla="*/ 741 h 1393"/>
                    <a:gd name="T120" fmla="*/ 1300 w 1301"/>
                    <a:gd name="T121" fmla="*/ 742 h 1393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301"/>
                    <a:gd name="T184" fmla="*/ 0 h 1393"/>
                    <a:gd name="T185" fmla="*/ 1301 w 1301"/>
                    <a:gd name="T186" fmla="*/ 1393 h 1393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301" h="1393">
                      <a:moveTo>
                        <a:pt x="1300" y="1392"/>
                      </a:moveTo>
                      <a:lnTo>
                        <a:pt x="1276" y="1392"/>
                      </a:lnTo>
                      <a:lnTo>
                        <a:pt x="1253" y="1391"/>
                      </a:lnTo>
                      <a:lnTo>
                        <a:pt x="1231" y="1390"/>
                      </a:lnTo>
                      <a:lnTo>
                        <a:pt x="1208" y="1388"/>
                      </a:lnTo>
                      <a:lnTo>
                        <a:pt x="1186" y="1387"/>
                      </a:lnTo>
                      <a:lnTo>
                        <a:pt x="1163" y="1384"/>
                      </a:lnTo>
                      <a:lnTo>
                        <a:pt x="1141" y="1382"/>
                      </a:lnTo>
                      <a:lnTo>
                        <a:pt x="1118" y="1379"/>
                      </a:lnTo>
                      <a:lnTo>
                        <a:pt x="1096" y="1375"/>
                      </a:lnTo>
                      <a:lnTo>
                        <a:pt x="1074" y="1372"/>
                      </a:lnTo>
                      <a:lnTo>
                        <a:pt x="1051" y="1368"/>
                      </a:lnTo>
                      <a:lnTo>
                        <a:pt x="1029" y="1363"/>
                      </a:lnTo>
                      <a:lnTo>
                        <a:pt x="1007" y="1358"/>
                      </a:lnTo>
                      <a:lnTo>
                        <a:pt x="985" y="1353"/>
                      </a:lnTo>
                      <a:lnTo>
                        <a:pt x="963" y="1348"/>
                      </a:lnTo>
                      <a:lnTo>
                        <a:pt x="941" y="1341"/>
                      </a:lnTo>
                      <a:lnTo>
                        <a:pt x="919" y="1335"/>
                      </a:lnTo>
                      <a:lnTo>
                        <a:pt x="897" y="1327"/>
                      </a:lnTo>
                      <a:lnTo>
                        <a:pt x="876" y="1321"/>
                      </a:lnTo>
                      <a:lnTo>
                        <a:pt x="855" y="1313"/>
                      </a:lnTo>
                      <a:lnTo>
                        <a:pt x="834" y="1305"/>
                      </a:lnTo>
                      <a:lnTo>
                        <a:pt x="813" y="1297"/>
                      </a:lnTo>
                      <a:lnTo>
                        <a:pt x="792" y="1288"/>
                      </a:lnTo>
                      <a:lnTo>
                        <a:pt x="771" y="1279"/>
                      </a:lnTo>
                      <a:lnTo>
                        <a:pt x="750" y="1270"/>
                      </a:lnTo>
                      <a:lnTo>
                        <a:pt x="729" y="1260"/>
                      </a:lnTo>
                      <a:lnTo>
                        <a:pt x="709" y="1250"/>
                      </a:lnTo>
                      <a:lnTo>
                        <a:pt x="689" y="1239"/>
                      </a:lnTo>
                      <a:lnTo>
                        <a:pt x="669" y="1229"/>
                      </a:lnTo>
                      <a:lnTo>
                        <a:pt x="650" y="1217"/>
                      </a:lnTo>
                      <a:lnTo>
                        <a:pt x="630" y="1205"/>
                      </a:lnTo>
                      <a:lnTo>
                        <a:pt x="610" y="1194"/>
                      </a:lnTo>
                      <a:lnTo>
                        <a:pt x="591" y="1181"/>
                      </a:lnTo>
                      <a:lnTo>
                        <a:pt x="573" y="1169"/>
                      </a:lnTo>
                      <a:lnTo>
                        <a:pt x="554" y="1157"/>
                      </a:lnTo>
                      <a:lnTo>
                        <a:pt x="535" y="1143"/>
                      </a:lnTo>
                      <a:lnTo>
                        <a:pt x="517" y="1130"/>
                      </a:lnTo>
                      <a:lnTo>
                        <a:pt x="499" y="1116"/>
                      </a:lnTo>
                      <a:lnTo>
                        <a:pt x="482" y="1102"/>
                      </a:lnTo>
                      <a:lnTo>
                        <a:pt x="463" y="1087"/>
                      </a:lnTo>
                      <a:lnTo>
                        <a:pt x="446" y="1073"/>
                      </a:lnTo>
                      <a:lnTo>
                        <a:pt x="430" y="1058"/>
                      </a:lnTo>
                      <a:lnTo>
                        <a:pt x="413" y="1042"/>
                      </a:lnTo>
                      <a:lnTo>
                        <a:pt x="396" y="1027"/>
                      </a:lnTo>
                      <a:lnTo>
                        <a:pt x="380" y="1011"/>
                      </a:lnTo>
                      <a:lnTo>
                        <a:pt x="365" y="994"/>
                      </a:lnTo>
                      <a:lnTo>
                        <a:pt x="349" y="978"/>
                      </a:lnTo>
                      <a:lnTo>
                        <a:pt x="334" y="962"/>
                      </a:lnTo>
                      <a:lnTo>
                        <a:pt x="319" y="944"/>
                      </a:lnTo>
                      <a:lnTo>
                        <a:pt x="304" y="927"/>
                      </a:lnTo>
                      <a:lnTo>
                        <a:pt x="289" y="910"/>
                      </a:lnTo>
                      <a:lnTo>
                        <a:pt x="275" y="892"/>
                      </a:lnTo>
                      <a:lnTo>
                        <a:pt x="261" y="874"/>
                      </a:lnTo>
                      <a:lnTo>
                        <a:pt x="248" y="856"/>
                      </a:lnTo>
                      <a:lnTo>
                        <a:pt x="235" y="837"/>
                      </a:lnTo>
                      <a:lnTo>
                        <a:pt x="222" y="819"/>
                      </a:lnTo>
                      <a:lnTo>
                        <a:pt x="209" y="799"/>
                      </a:lnTo>
                      <a:lnTo>
                        <a:pt x="197" y="780"/>
                      </a:lnTo>
                      <a:lnTo>
                        <a:pt x="185" y="761"/>
                      </a:lnTo>
                      <a:lnTo>
                        <a:pt x="174" y="742"/>
                      </a:lnTo>
                      <a:lnTo>
                        <a:pt x="163" y="722"/>
                      </a:lnTo>
                      <a:lnTo>
                        <a:pt x="152" y="702"/>
                      </a:lnTo>
                      <a:lnTo>
                        <a:pt x="141" y="681"/>
                      </a:lnTo>
                      <a:lnTo>
                        <a:pt x="131" y="661"/>
                      </a:lnTo>
                      <a:lnTo>
                        <a:pt x="122" y="641"/>
                      </a:lnTo>
                      <a:lnTo>
                        <a:pt x="112" y="620"/>
                      </a:lnTo>
                      <a:lnTo>
                        <a:pt x="103" y="600"/>
                      </a:lnTo>
                      <a:lnTo>
                        <a:pt x="94" y="579"/>
                      </a:lnTo>
                      <a:lnTo>
                        <a:pt x="86" y="558"/>
                      </a:lnTo>
                      <a:lnTo>
                        <a:pt x="78" y="536"/>
                      </a:lnTo>
                      <a:lnTo>
                        <a:pt x="71" y="515"/>
                      </a:lnTo>
                      <a:lnTo>
                        <a:pt x="63" y="493"/>
                      </a:lnTo>
                      <a:lnTo>
                        <a:pt x="57" y="472"/>
                      </a:lnTo>
                      <a:lnTo>
                        <a:pt x="50" y="450"/>
                      </a:lnTo>
                      <a:lnTo>
                        <a:pt x="44" y="428"/>
                      </a:lnTo>
                      <a:lnTo>
                        <a:pt x="38" y="406"/>
                      </a:lnTo>
                      <a:lnTo>
                        <a:pt x="33" y="384"/>
                      </a:lnTo>
                      <a:lnTo>
                        <a:pt x="28" y="362"/>
                      </a:lnTo>
                      <a:lnTo>
                        <a:pt x="24" y="340"/>
                      </a:lnTo>
                      <a:lnTo>
                        <a:pt x="19" y="318"/>
                      </a:lnTo>
                      <a:lnTo>
                        <a:pt x="15" y="296"/>
                      </a:lnTo>
                      <a:lnTo>
                        <a:pt x="12" y="272"/>
                      </a:lnTo>
                      <a:lnTo>
                        <a:pt x="9" y="250"/>
                      </a:lnTo>
                      <a:lnTo>
                        <a:pt x="7" y="227"/>
                      </a:lnTo>
                      <a:lnTo>
                        <a:pt x="5" y="205"/>
                      </a:lnTo>
                      <a:lnTo>
                        <a:pt x="3" y="182"/>
                      </a:lnTo>
                      <a:lnTo>
                        <a:pt x="2" y="160"/>
                      </a:lnTo>
                      <a:lnTo>
                        <a:pt x="1" y="137"/>
                      </a:lnTo>
                      <a:lnTo>
                        <a:pt x="0" y="114"/>
                      </a:lnTo>
                      <a:lnTo>
                        <a:pt x="0" y="92"/>
                      </a:lnTo>
                      <a:lnTo>
                        <a:pt x="342" y="0"/>
                      </a:lnTo>
                      <a:lnTo>
                        <a:pt x="650" y="92"/>
                      </a:lnTo>
                      <a:lnTo>
                        <a:pt x="650" y="104"/>
                      </a:lnTo>
                      <a:lnTo>
                        <a:pt x="650" y="114"/>
                      </a:lnTo>
                      <a:lnTo>
                        <a:pt x="651" y="126"/>
                      </a:lnTo>
                      <a:lnTo>
                        <a:pt x="651" y="137"/>
                      </a:lnTo>
                      <a:lnTo>
                        <a:pt x="652" y="149"/>
                      </a:lnTo>
                      <a:lnTo>
                        <a:pt x="653" y="160"/>
                      </a:lnTo>
                      <a:lnTo>
                        <a:pt x="654" y="171"/>
                      </a:lnTo>
                      <a:lnTo>
                        <a:pt x="655" y="182"/>
                      </a:lnTo>
                      <a:lnTo>
                        <a:pt x="657" y="194"/>
                      </a:lnTo>
                      <a:lnTo>
                        <a:pt x="659" y="204"/>
                      </a:lnTo>
                      <a:lnTo>
                        <a:pt x="661" y="216"/>
                      </a:lnTo>
                      <a:lnTo>
                        <a:pt x="664" y="227"/>
                      </a:lnTo>
                      <a:lnTo>
                        <a:pt x="666" y="238"/>
                      </a:lnTo>
                      <a:lnTo>
                        <a:pt x="669" y="249"/>
                      </a:lnTo>
                      <a:lnTo>
                        <a:pt x="672" y="260"/>
                      </a:lnTo>
                      <a:lnTo>
                        <a:pt x="675" y="271"/>
                      </a:lnTo>
                      <a:lnTo>
                        <a:pt x="678" y="282"/>
                      </a:lnTo>
                      <a:lnTo>
                        <a:pt x="681" y="293"/>
                      </a:lnTo>
                      <a:lnTo>
                        <a:pt x="685" y="303"/>
                      </a:lnTo>
                      <a:lnTo>
                        <a:pt x="689" y="314"/>
                      </a:lnTo>
                      <a:lnTo>
                        <a:pt x="693" y="324"/>
                      </a:lnTo>
                      <a:lnTo>
                        <a:pt x="697" y="335"/>
                      </a:lnTo>
                      <a:lnTo>
                        <a:pt x="702" y="345"/>
                      </a:lnTo>
                      <a:lnTo>
                        <a:pt x="705" y="356"/>
                      </a:lnTo>
                      <a:lnTo>
                        <a:pt x="710" y="367"/>
                      </a:lnTo>
                      <a:lnTo>
                        <a:pt x="715" y="377"/>
                      </a:lnTo>
                      <a:lnTo>
                        <a:pt x="721" y="387"/>
                      </a:lnTo>
                      <a:lnTo>
                        <a:pt x="726" y="397"/>
                      </a:lnTo>
                      <a:lnTo>
                        <a:pt x="731" y="407"/>
                      </a:lnTo>
                      <a:lnTo>
                        <a:pt x="736" y="416"/>
                      </a:lnTo>
                      <a:lnTo>
                        <a:pt x="742" y="426"/>
                      </a:lnTo>
                      <a:lnTo>
                        <a:pt x="749" y="437"/>
                      </a:lnTo>
                      <a:lnTo>
                        <a:pt x="754" y="445"/>
                      </a:lnTo>
                      <a:lnTo>
                        <a:pt x="760" y="455"/>
                      </a:lnTo>
                      <a:lnTo>
                        <a:pt x="767" y="464"/>
                      </a:lnTo>
                      <a:lnTo>
                        <a:pt x="774" y="474"/>
                      </a:lnTo>
                      <a:lnTo>
                        <a:pt x="780" y="483"/>
                      </a:lnTo>
                      <a:lnTo>
                        <a:pt x="787" y="492"/>
                      </a:lnTo>
                      <a:lnTo>
                        <a:pt x="795" y="501"/>
                      </a:lnTo>
                      <a:lnTo>
                        <a:pt x="801" y="510"/>
                      </a:lnTo>
                      <a:lnTo>
                        <a:pt x="809" y="518"/>
                      </a:lnTo>
                      <a:lnTo>
                        <a:pt x="817" y="527"/>
                      </a:lnTo>
                      <a:lnTo>
                        <a:pt x="824" y="535"/>
                      </a:lnTo>
                      <a:lnTo>
                        <a:pt x="832" y="543"/>
                      </a:lnTo>
                      <a:lnTo>
                        <a:pt x="840" y="551"/>
                      </a:lnTo>
                      <a:lnTo>
                        <a:pt x="847" y="559"/>
                      </a:lnTo>
                      <a:lnTo>
                        <a:pt x="856" y="567"/>
                      </a:lnTo>
                      <a:lnTo>
                        <a:pt x="865" y="575"/>
                      </a:lnTo>
                      <a:lnTo>
                        <a:pt x="873" y="583"/>
                      </a:lnTo>
                      <a:lnTo>
                        <a:pt x="882" y="589"/>
                      </a:lnTo>
                      <a:lnTo>
                        <a:pt x="891" y="597"/>
                      </a:lnTo>
                      <a:lnTo>
                        <a:pt x="899" y="604"/>
                      </a:lnTo>
                      <a:lnTo>
                        <a:pt x="908" y="610"/>
                      </a:lnTo>
                      <a:lnTo>
                        <a:pt x="917" y="617"/>
                      </a:lnTo>
                      <a:lnTo>
                        <a:pt x="926" y="624"/>
                      </a:lnTo>
                      <a:lnTo>
                        <a:pt x="936" y="631"/>
                      </a:lnTo>
                      <a:lnTo>
                        <a:pt x="945" y="637"/>
                      </a:lnTo>
                      <a:lnTo>
                        <a:pt x="955" y="643"/>
                      </a:lnTo>
                      <a:lnTo>
                        <a:pt x="965" y="649"/>
                      </a:lnTo>
                      <a:lnTo>
                        <a:pt x="974" y="655"/>
                      </a:lnTo>
                      <a:lnTo>
                        <a:pt x="985" y="660"/>
                      </a:lnTo>
                      <a:lnTo>
                        <a:pt x="994" y="666"/>
                      </a:lnTo>
                      <a:lnTo>
                        <a:pt x="1004" y="671"/>
                      </a:lnTo>
                      <a:lnTo>
                        <a:pt x="1014" y="676"/>
                      </a:lnTo>
                      <a:lnTo>
                        <a:pt x="1025" y="680"/>
                      </a:lnTo>
                      <a:lnTo>
                        <a:pt x="1035" y="685"/>
                      </a:lnTo>
                      <a:lnTo>
                        <a:pt x="1045" y="690"/>
                      </a:lnTo>
                      <a:lnTo>
                        <a:pt x="1056" y="694"/>
                      </a:lnTo>
                      <a:lnTo>
                        <a:pt x="1066" y="699"/>
                      </a:lnTo>
                      <a:lnTo>
                        <a:pt x="1077" y="702"/>
                      </a:lnTo>
                      <a:lnTo>
                        <a:pt x="1087" y="706"/>
                      </a:lnTo>
                      <a:lnTo>
                        <a:pt x="1099" y="710"/>
                      </a:lnTo>
                      <a:lnTo>
                        <a:pt x="1109" y="713"/>
                      </a:lnTo>
                      <a:lnTo>
                        <a:pt x="1120" y="717"/>
                      </a:lnTo>
                      <a:lnTo>
                        <a:pt x="1132" y="720"/>
                      </a:lnTo>
                      <a:lnTo>
                        <a:pt x="1142" y="723"/>
                      </a:lnTo>
                      <a:lnTo>
                        <a:pt x="1153" y="725"/>
                      </a:lnTo>
                      <a:lnTo>
                        <a:pt x="1164" y="727"/>
                      </a:lnTo>
                      <a:lnTo>
                        <a:pt x="1176" y="729"/>
                      </a:lnTo>
                      <a:lnTo>
                        <a:pt x="1186" y="731"/>
                      </a:lnTo>
                      <a:lnTo>
                        <a:pt x="1198" y="733"/>
                      </a:lnTo>
                      <a:lnTo>
                        <a:pt x="1209" y="735"/>
                      </a:lnTo>
                      <a:lnTo>
                        <a:pt x="1220" y="737"/>
                      </a:lnTo>
                      <a:lnTo>
                        <a:pt x="1231" y="738"/>
                      </a:lnTo>
                      <a:lnTo>
                        <a:pt x="1243" y="739"/>
                      </a:lnTo>
                      <a:lnTo>
                        <a:pt x="1254" y="740"/>
                      </a:lnTo>
                      <a:lnTo>
                        <a:pt x="1265" y="741"/>
                      </a:lnTo>
                      <a:lnTo>
                        <a:pt x="1276" y="741"/>
                      </a:lnTo>
                      <a:lnTo>
                        <a:pt x="1288" y="742"/>
                      </a:lnTo>
                      <a:lnTo>
                        <a:pt x="1300" y="742"/>
                      </a:lnTo>
                      <a:lnTo>
                        <a:pt x="1206" y="1056"/>
                      </a:lnTo>
                      <a:lnTo>
                        <a:pt x="1300" y="1392"/>
                      </a:lnTo>
                    </a:path>
                  </a:pathLst>
                </a:custGeom>
                <a:noFill/>
                <a:ln w="19050" cap="rnd">
                  <a:solidFill>
                    <a:srgbClr val="002D41"/>
                  </a:solidFill>
                  <a:round/>
                  <a:headEnd/>
                  <a:tailEnd/>
                </a:ln>
              </p:spPr>
              <p:txBody>
                <a:bodyPr lIns="72000" tIns="72000" rIns="72000" bIns="72000" anchor="ctr"/>
                <a:lstStyle/>
                <a:p>
                  <a:pPr>
                    <a:spcBef>
                      <a:spcPts val="800"/>
                    </a:spcBef>
                  </a:pPr>
                  <a:endParaRPr lang="de-DE" sz="800">
                    <a:latin typeface="+mn-lt"/>
                  </a:endParaRPr>
                </a:p>
              </p:txBody>
            </p:sp>
            <p:sp>
              <p:nvSpPr>
                <p:cNvPr id="46" name="Text Box 9">
                  <a:extLst>
                    <a:ext uri="{FF2B5EF4-FFF2-40B4-BE49-F238E27FC236}">
                      <a16:creationId xmlns:a16="http://schemas.microsoft.com/office/drawing/2014/main" id="{1F56E734-54C6-467A-B3D7-1BFAF9756B88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4"/>
                  </p:custDataLst>
                </p:nvPr>
              </p:nvSpPr>
              <p:spPr bwMode="auto">
                <a:xfrm rot="2862967">
                  <a:off x="3149025" y="4675054"/>
                  <a:ext cx="927996" cy="538272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0" tIns="0" rIns="0" bIns="0" anchor="ctr">
                  <a:spAutoFit/>
                </a:bodyPr>
                <a:lstStyle/>
                <a:p>
                  <a:pPr algn="ctr">
                    <a:spcBef>
                      <a:spcPts val="800"/>
                    </a:spcBef>
                    <a:buClrTx/>
                    <a:buSzTx/>
                    <a:buFontTx/>
                    <a:buNone/>
                  </a:pPr>
                  <a:r>
                    <a:rPr lang="de-DE" sz="800">
                      <a:latin typeface="+mn-lt"/>
                    </a:rPr>
                    <a:t>Retro-spektive</a:t>
                  </a:r>
                </a:p>
              </p:txBody>
            </p:sp>
          </p:grpSp>
          <p:grpSp>
            <p:nvGrpSpPr>
              <p:cNvPr id="42" name="Gruppieren 41">
                <a:extLst>
                  <a:ext uri="{FF2B5EF4-FFF2-40B4-BE49-F238E27FC236}">
                    <a16:creationId xmlns:a16="http://schemas.microsoft.com/office/drawing/2014/main" id="{3A163C8D-2C37-4DE7-9467-A316D75E495F}"/>
                  </a:ext>
                </a:extLst>
              </p:cNvPr>
              <p:cNvGrpSpPr/>
              <p:nvPr/>
            </p:nvGrpSpPr>
            <p:grpSpPr>
              <a:xfrm>
                <a:off x="4792663" y="3760788"/>
                <a:ext cx="2551112" cy="2359025"/>
                <a:chOff x="4792663" y="3760788"/>
                <a:chExt cx="2551112" cy="2359025"/>
              </a:xfrm>
            </p:grpSpPr>
            <p:sp>
              <p:nvSpPr>
                <p:cNvPr id="43" name="Freeform 6">
                  <a:extLst>
                    <a:ext uri="{FF2B5EF4-FFF2-40B4-BE49-F238E27FC236}">
                      <a16:creationId xmlns:a16="http://schemas.microsoft.com/office/drawing/2014/main" id="{342948DA-314A-4329-8E4F-F56C7CB772DA}"/>
                    </a:ext>
                  </a:extLst>
                </p:cNvPr>
                <p:cNvSpPr>
                  <a:spLocks/>
                </p:cNvSpPr>
                <p:nvPr>
                  <p:custDataLst>
                    <p:tags r:id="rId1"/>
                  </p:custDataLst>
                </p:nvPr>
              </p:nvSpPr>
              <p:spPr bwMode="auto">
                <a:xfrm>
                  <a:off x="4792663" y="3760788"/>
                  <a:ext cx="2551112" cy="2359025"/>
                </a:xfrm>
                <a:custGeom>
                  <a:avLst/>
                  <a:gdLst>
                    <a:gd name="T0" fmla="*/ 1392 w 1394"/>
                    <a:gd name="T1" fmla="*/ 45 h 1301"/>
                    <a:gd name="T2" fmla="*/ 1388 w 1394"/>
                    <a:gd name="T3" fmla="*/ 113 h 1301"/>
                    <a:gd name="T4" fmla="*/ 1381 w 1394"/>
                    <a:gd name="T5" fmla="*/ 180 h 1301"/>
                    <a:gd name="T6" fmla="*/ 1369 w 1394"/>
                    <a:gd name="T7" fmla="*/ 248 h 1301"/>
                    <a:gd name="T8" fmla="*/ 1355 w 1394"/>
                    <a:gd name="T9" fmla="*/ 314 h 1301"/>
                    <a:gd name="T10" fmla="*/ 1336 w 1394"/>
                    <a:gd name="T11" fmla="*/ 380 h 1301"/>
                    <a:gd name="T12" fmla="*/ 1314 w 1394"/>
                    <a:gd name="T13" fmla="*/ 444 h 1301"/>
                    <a:gd name="T14" fmla="*/ 1289 w 1394"/>
                    <a:gd name="T15" fmla="*/ 508 h 1301"/>
                    <a:gd name="T16" fmla="*/ 1262 w 1394"/>
                    <a:gd name="T17" fmla="*/ 569 h 1301"/>
                    <a:gd name="T18" fmla="*/ 1230 w 1394"/>
                    <a:gd name="T19" fmla="*/ 630 h 1301"/>
                    <a:gd name="T20" fmla="*/ 1195 w 1394"/>
                    <a:gd name="T21" fmla="*/ 688 h 1301"/>
                    <a:gd name="T22" fmla="*/ 1158 w 1394"/>
                    <a:gd name="T23" fmla="*/ 745 h 1301"/>
                    <a:gd name="T24" fmla="*/ 1118 w 1394"/>
                    <a:gd name="T25" fmla="*/ 800 h 1301"/>
                    <a:gd name="T26" fmla="*/ 1074 w 1394"/>
                    <a:gd name="T27" fmla="*/ 852 h 1301"/>
                    <a:gd name="T28" fmla="*/ 1028 w 1394"/>
                    <a:gd name="T29" fmla="*/ 902 h 1301"/>
                    <a:gd name="T30" fmla="*/ 979 w 1394"/>
                    <a:gd name="T31" fmla="*/ 950 h 1301"/>
                    <a:gd name="T32" fmla="*/ 929 w 1394"/>
                    <a:gd name="T33" fmla="*/ 995 h 1301"/>
                    <a:gd name="T34" fmla="*/ 876 w 1394"/>
                    <a:gd name="T35" fmla="*/ 1038 h 1301"/>
                    <a:gd name="T36" fmla="*/ 820 w 1394"/>
                    <a:gd name="T37" fmla="*/ 1077 h 1301"/>
                    <a:gd name="T38" fmla="*/ 763 w 1394"/>
                    <a:gd name="T39" fmla="*/ 1113 h 1301"/>
                    <a:gd name="T40" fmla="*/ 703 w 1394"/>
                    <a:gd name="T41" fmla="*/ 1147 h 1301"/>
                    <a:gd name="T42" fmla="*/ 643 w 1394"/>
                    <a:gd name="T43" fmla="*/ 1178 h 1301"/>
                    <a:gd name="T44" fmla="*/ 580 w 1394"/>
                    <a:gd name="T45" fmla="*/ 1205 h 1301"/>
                    <a:gd name="T46" fmla="*/ 517 w 1394"/>
                    <a:gd name="T47" fmla="*/ 1229 h 1301"/>
                    <a:gd name="T48" fmla="*/ 452 w 1394"/>
                    <a:gd name="T49" fmla="*/ 1249 h 1301"/>
                    <a:gd name="T50" fmla="*/ 385 w 1394"/>
                    <a:gd name="T51" fmla="*/ 1266 h 1301"/>
                    <a:gd name="T52" fmla="*/ 319 w 1394"/>
                    <a:gd name="T53" fmla="*/ 1280 h 1301"/>
                    <a:gd name="T54" fmla="*/ 252 w 1394"/>
                    <a:gd name="T55" fmla="*/ 1290 h 1301"/>
                    <a:gd name="T56" fmla="*/ 184 w 1394"/>
                    <a:gd name="T57" fmla="*/ 1296 h 1301"/>
                    <a:gd name="T58" fmla="*/ 116 w 1394"/>
                    <a:gd name="T59" fmla="*/ 1300 h 1301"/>
                    <a:gd name="T60" fmla="*/ 94 w 1394"/>
                    <a:gd name="T61" fmla="*/ 650 h 1301"/>
                    <a:gd name="T62" fmla="*/ 127 w 1394"/>
                    <a:gd name="T63" fmla="*/ 649 h 1301"/>
                    <a:gd name="T64" fmla="*/ 162 w 1394"/>
                    <a:gd name="T65" fmla="*/ 646 h 1301"/>
                    <a:gd name="T66" fmla="*/ 195 w 1394"/>
                    <a:gd name="T67" fmla="*/ 641 h 1301"/>
                    <a:gd name="T68" fmla="*/ 229 w 1394"/>
                    <a:gd name="T69" fmla="*/ 635 h 1301"/>
                    <a:gd name="T70" fmla="*/ 261 w 1394"/>
                    <a:gd name="T71" fmla="*/ 628 h 1301"/>
                    <a:gd name="T72" fmla="*/ 294 w 1394"/>
                    <a:gd name="T73" fmla="*/ 618 h 1301"/>
                    <a:gd name="T74" fmla="*/ 326 w 1394"/>
                    <a:gd name="T75" fmla="*/ 607 h 1301"/>
                    <a:gd name="T76" fmla="*/ 357 w 1394"/>
                    <a:gd name="T77" fmla="*/ 593 h 1301"/>
                    <a:gd name="T78" fmla="*/ 388 w 1394"/>
                    <a:gd name="T79" fmla="*/ 579 h 1301"/>
                    <a:gd name="T80" fmla="*/ 418 w 1394"/>
                    <a:gd name="T81" fmla="*/ 563 h 1301"/>
                    <a:gd name="T82" fmla="*/ 447 w 1394"/>
                    <a:gd name="T83" fmla="*/ 545 h 1301"/>
                    <a:gd name="T84" fmla="*/ 476 w 1394"/>
                    <a:gd name="T85" fmla="*/ 525 h 1301"/>
                    <a:gd name="T86" fmla="*/ 502 w 1394"/>
                    <a:gd name="T87" fmla="*/ 505 h 1301"/>
                    <a:gd name="T88" fmla="*/ 528 w 1394"/>
                    <a:gd name="T89" fmla="*/ 483 h 1301"/>
                    <a:gd name="T90" fmla="*/ 552 w 1394"/>
                    <a:gd name="T91" fmla="*/ 459 h 1301"/>
                    <a:gd name="T92" fmla="*/ 576 w 1394"/>
                    <a:gd name="T93" fmla="*/ 435 h 1301"/>
                    <a:gd name="T94" fmla="*/ 598 w 1394"/>
                    <a:gd name="T95" fmla="*/ 409 h 1301"/>
                    <a:gd name="T96" fmla="*/ 619 w 1394"/>
                    <a:gd name="T97" fmla="*/ 382 h 1301"/>
                    <a:gd name="T98" fmla="*/ 639 w 1394"/>
                    <a:gd name="T99" fmla="*/ 353 h 1301"/>
                    <a:gd name="T100" fmla="*/ 656 w 1394"/>
                    <a:gd name="T101" fmla="*/ 324 h 1301"/>
                    <a:gd name="T102" fmla="*/ 672 w 1394"/>
                    <a:gd name="T103" fmla="*/ 295 h 1301"/>
                    <a:gd name="T104" fmla="*/ 687 w 1394"/>
                    <a:gd name="T105" fmla="*/ 264 h 1301"/>
                    <a:gd name="T106" fmla="*/ 700 w 1394"/>
                    <a:gd name="T107" fmla="*/ 232 h 1301"/>
                    <a:gd name="T108" fmla="*/ 712 w 1394"/>
                    <a:gd name="T109" fmla="*/ 201 h 1301"/>
                    <a:gd name="T110" fmla="*/ 721 w 1394"/>
                    <a:gd name="T111" fmla="*/ 168 h 1301"/>
                    <a:gd name="T112" fmla="*/ 729 w 1394"/>
                    <a:gd name="T113" fmla="*/ 135 h 1301"/>
                    <a:gd name="T114" fmla="*/ 735 w 1394"/>
                    <a:gd name="T115" fmla="*/ 102 h 1301"/>
                    <a:gd name="T116" fmla="*/ 739 w 1394"/>
                    <a:gd name="T117" fmla="*/ 68 h 1301"/>
                    <a:gd name="T118" fmla="*/ 742 w 1394"/>
                    <a:gd name="T119" fmla="*/ 34 h 1301"/>
                    <a:gd name="T120" fmla="*/ 743 w 1394"/>
                    <a:gd name="T121" fmla="*/ 0 h 1301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394"/>
                    <a:gd name="T184" fmla="*/ 0 h 1301"/>
                    <a:gd name="T185" fmla="*/ 1394 w 1394"/>
                    <a:gd name="T186" fmla="*/ 1301 h 1301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394" h="1301">
                      <a:moveTo>
                        <a:pt x="1393" y="0"/>
                      </a:moveTo>
                      <a:lnTo>
                        <a:pt x="1393" y="22"/>
                      </a:lnTo>
                      <a:lnTo>
                        <a:pt x="1392" y="45"/>
                      </a:lnTo>
                      <a:lnTo>
                        <a:pt x="1391" y="68"/>
                      </a:lnTo>
                      <a:lnTo>
                        <a:pt x="1389" y="90"/>
                      </a:lnTo>
                      <a:lnTo>
                        <a:pt x="1388" y="113"/>
                      </a:lnTo>
                      <a:lnTo>
                        <a:pt x="1385" y="135"/>
                      </a:lnTo>
                      <a:lnTo>
                        <a:pt x="1384" y="158"/>
                      </a:lnTo>
                      <a:lnTo>
                        <a:pt x="1381" y="180"/>
                      </a:lnTo>
                      <a:lnTo>
                        <a:pt x="1377" y="204"/>
                      </a:lnTo>
                      <a:lnTo>
                        <a:pt x="1373" y="226"/>
                      </a:lnTo>
                      <a:lnTo>
                        <a:pt x="1369" y="248"/>
                      </a:lnTo>
                      <a:lnTo>
                        <a:pt x="1364" y="270"/>
                      </a:lnTo>
                      <a:lnTo>
                        <a:pt x="1360" y="292"/>
                      </a:lnTo>
                      <a:lnTo>
                        <a:pt x="1355" y="314"/>
                      </a:lnTo>
                      <a:lnTo>
                        <a:pt x="1349" y="336"/>
                      </a:lnTo>
                      <a:lnTo>
                        <a:pt x="1342" y="358"/>
                      </a:lnTo>
                      <a:lnTo>
                        <a:pt x="1336" y="380"/>
                      </a:lnTo>
                      <a:lnTo>
                        <a:pt x="1329" y="401"/>
                      </a:lnTo>
                      <a:lnTo>
                        <a:pt x="1322" y="423"/>
                      </a:lnTo>
                      <a:lnTo>
                        <a:pt x="1314" y="444"/>
                      </a:lnTo>
                      <a:lnTo>
                        <a:pt x="1307" y="466"/>
                      </a:lnTo>
                      <a:lnTo>
                        <a:pt x="1298" y="487"/>
                      </a:lnTo>
                      <a:lnTo>
                        <a:pt x="1289" y="508"/>
                      </a:lnTo>
                      <a:lnTo>
                        <a:pt x="1281" y="528"/>
                      </a:lnTo>
                      <a:lnTo>
                        <a:pt x="1271" y="549"/>
                      </a:lnTo>
                      <a:lnTo>
                        <a:pt x="1262" y="569"/>
                      </a:lnTo>
                      <a:lnTo>
                        <a:pt x="1251" y="589"/>
                      </a:lnTo>
                      <a:lnTo>
                        <a:pt x="1240" y="610"/>
                      </a:lnTo>
                      <a:lnTo>
                        <a:pt x="1230" y="630"/>
                      </a:lnTo>
                      <a:lnTo>
                        <a:pt x="1218" y="650"/>
                      </a:lnTo>
                      <a:lnTo>
                        <a:pt x="1207" y="669"/>
                      </a:lnTo>
                      <a:lnTo>
                        <a:pt x="1195" y="688"/>
                      </a:lnTo>
                      <a:lnTo>
                        <a:pt x="1183" y="707"/>
                      </a:lnTo>
                      <a:lnTo>
                        <a:pt x="1170" y="727"/>
                      </a:lnTo>
                      <a:lnTo>
                        <a:pt x="1158" y="745"/>
                      </a:lnTo>
                      <a:lnTo>
                        <a:pt x="1145" y="764"/>
                      </a:lnTo>
                      <a:lnTo>
                        <a:pt x="1131" y="782"/>
                      </a:lnTo>
                      <a:lnTo>
                        <a:pt x="1118" y="800"/>
                      </a:lnTo>
                      <a:lnTo>
                        <a:pt x="1103" y="818"/>
                      </a:lnTo>
                      <a:lnTo>
                        <a:pt x="1089" y="835"/>
                      </a:lnTo>
                      <a:lnTo>
                        <a:pt x="1074" y="852"/>
                      </a:lnTo>
                      <a:lnTo>
                        <a:pt x="1059" y="870"/>
                      </a:lnTo>
                      <a:lnTo>
                        <a:pt x="1044" y="886"/>
                      </a:lnTo>
                      <a:lnTo>
                        <a:pt x="1028" y="902"/>
                      </a:lnTo>
                      <a:lnTo>
                        <a:pt x="1012" y="919"/>
                      </a:lnTo>
                      <a:lnTo>
                        <a:pt x="996" y="935"/>
                      </a:lnTo>
                      <a:lnTo>
                        <a:pt x="979" y="950"/>
                      </a:lnTo>
                      <a:lnTo>
                        <a:pt x="963" y="966"/>
                      </a:lnTo>
                      <a:lnTo>
                        <a:pt x="946" y="981"/>
                      </a:lnTo>
                      <a:lnTo>
                        <a:pt x="929" y="995"/>
                      </a:lnTo>
                      <a:lnTo>
                        <a:pt x="911" y="1010"/>
                      </a:lnTo>
                      <a:lnTo>
                        <a:pt x="893" y="1024"/>
                      </a:lnTo>
                      <a:lnTo>
                        <a:pt x="876" y="1038"/>
                      </a:lnTo>
                      <a:lnTo>
                        <a:pt x="858" y="1051"/>
                      </a:lnTo>
                      <a:lnTo>
                        <a:pt x="838" y="1065"/>
                      </a:lnTo>
                      <a:lnTo>
                        <a:pt x="820" y="1077"/>
                      </a:lnTo>
                      <a:lnTo>
                        <a:pt x="801" y="1089"/>
                      </a:lnTo>
                      <a:lnTo>
                        <a:pt x="782" y="1102"/>
                      </a:lnTo>
                      <a:lnTo>
                        <a:pt x="763" y="1113"/>
                      </a:lnTo>
                      <a:lnTo>
                        <a:pt x="743" y="1125"/>
                      </a:lnTo>
                      <a:lnTo>
                        <a:pt x="723" y="1137"/>
                      </a:lnTo>
                      <a:lnTo>
                        <a:pt x="703" y="1147"/>
                      </a:lnTo>
                      <a:lnTo>
                        <a:pt x="683" y="1158"/>
                      </a:lnTo>
                      <a:lnTo>
                        <a:pt x="663" y="1168"/>
                      </a:lnTo>
                      <a:lnTo>
                        <a:pt x="643" y="1178"/>
                      </a:lnTo>
                      <a:lnTo>
                        <a:pt x="621" y="1187"/>
                      </a:lnTo>
                      <a:lnTo>
                        <a:pt x="601" y="1196"/>
                      </a:lnTo>
                      <a:lnTo>
                        <a:pt x="580" y="1205"/>
                      </a:lnTo>
                      <a:lnTo>
                        <a:pt x="559" y="1213"/>
                      </a:lnTo>
                      <a:lnTo>
                        <a:pt x="538" y="1221"/>
                      </a:lnTo>
                      <a:lnTo>
                        <a:pt x="517" y="1229"/>
                      </a:lnTo>
                      <a:lnTo>
                        <a:pt x="495" y="1235"/>
                      </a:lnTo>
                      <a:lnTo>
                        <a:pt x="474" y="1243"/>
                      </a:lnTo>
                      <a:lnTo>
                        <a:pt x="452" y="1249"/>
                      </a:lnTo>
                      <a:lnTo>
                        <a:pt x="429" y="1256"/>
                      </a:lnTo>
                      <a:lnTo>
                        <a:pt x="407" y="1261"/>
                      </a:lnTo>
                      <a:lnTo>
                        <a:pt x="385" y="1266"/>
                      </a:lnTo>
                      <a:lnTo>
                        <a:pt x="363" y="1271"/>
                      </a:lnTo>
                      <a:lnTo>
                        <a:pt x="341" y="1276"/>
                      </a:lnTo>
                      <a:lnTo>
                        <a:pt x="319" y="1280"/>
                      </a:lnTo>
                      <a:lnTo>
                        <a:pt x="297" y="1283"/>
                      </a:lnTo>
                      <a:lnTo>
                        <a:pt x="274" y="1287"/>
                      </a:lnTo>
                      <a:lnTo>
                        <a:pt x="252" y="1290"/>
                      </a:lnTo>
                      <a:lnTo>
                        <a:pt x="229" y="1292"/>
                      </a:lnTo>
                      <a:lnTo>
                        <a:pt x="207" y="1295"/>
                      </a:lnTo>
                      <a:lnTo>
                        <a:pt x="184" y="1296"/>
                      </a:lnTo>
                      <a:lnTo>
                        <a:pt x="162" y="1298"/>
                      </a:lnTo>
                      <a:lnTo>
                        <a:pt x="139" y="1299"/>
                      </a:lnTo>
                      <a:lnTo>
                        <a:pt x="116" y="1300"/>
                      </a:lnTo>
                      <a:lnTo>
                        <a:pt x="94" y="1300"/>
                      </a:lnTo>
                      <a:lnTo>
                        <a:pt x="0" y="964"/>
                      </a:lnTo>
                      <a:lnTo>
                        <a:pt x="94" y="650"/>
                      </a:lnTo>
                      <a:lnTo>
                        <a:pt x="105" y="650"/>
                      </a:lnTo>
                      <a:lnTo>
                        <a:pt x="116" y="649"/>
                      </a:lnTo>
                      <a:lnTo>
                        <a:pt x="127" y="649"/>
                      </a:lnTo>
                      <a:lnTo>
                        <a:pt x="139" y="648"/>
                      </a:lnTo>
                      <a:lnTo>
                        <a:pt x="150" y="647"/>
                      </a:lnTo>
                      <a:lnTo>
                        <a:pt x="162" y="646"/>
                      </a:lnTo>
                      <a:lnTo>
                        <a:pt x="172" y="645"/>
                      </a:lnTo>
                      <a:lnTo>
                        <a:pt x="184" y="643"/>
                      </a:lnTo>
                      <a:lnTo>
                        <a:pt x="195" y="641"/>
                      </a:lnTo>
                      <a:lnTo>
                        <a:pt x="206" y="639"/>
                      </a:lnTo>
                      <a:lnTo>
                        <a:pt x="217" y="637"/>
                      </a:lnTo>
                      <a:lnTo>
                        <a:pt x="229" y="635"/>
                      </a:lnTo>
                      <a:lnTo>
                        <a:pt x="239" y="633"/>
                      </a:lnTo>
                      <a:lnTo>
                        <a:pt x="251" y="631"/>
                      </a:lnTo>
                      <a:lnTo>
                        <a:pt x="261" y="628"/>
                      </a:lnTo>
                      <a:lnTo>
                        <a:pt x="272" y="625"/>
                      </a:lnTo>
                      <a:lnTo>
                        <a:pt x="284" y="621"/>
                      </a:lnTo>
                      <a:lnTo>
                        <a:pt x="294" y="618"/>
                      </a:lnTo>
                      <a:lnTo>
                        <a:pt x="305" y="614"/>
                      </a:lnTo>
                      <a:lnTo>
                        <a:pt x="315" y="610"/>
                      </a:lnTo>
                      <a:lnTo>
                        <a:pt x="326" y="607"/>
                      </a:lnTo>
                      <a:lnTo>
                        <a:pt x="336" y="602"/>
                      </a:lnTo>
                      <a:lnTo>
                        <a:pt x="347" y="598"/>
                      </a:lnTo>
                      <a:lnTo>
                        <a:pt x="357" y="593"/>
                      </a:lnTo>
                      <a:lnTo>
                        <a:pt x="368" y="588"/>
                      </a:lnTo>
                      <a:lnTo>
                        <a:pt x="379" y="584"/>
                      </a:lnTo>
                      <a:lnTo>
                        <a:pt x="388" y="579"/>
                      </a:lnTo>
                      <a:lnTo>
                        <a:pt x="399" y="574"/>
                      </a:lnTo>
                      <a:lnTo>
                        <a:pt x="408" y="568"/>
                      </a:lnTo>
                      <a:lnTo>
                        <a:pt x="418" y="563"/>
                      </a:lnTo>
                      <a:lnTo>
                        <a:pt x="428" y="557"/>
                      </a:lnTo>
                      <a:lnTo>
                        <a:pt x="438" y="551"/>
                      </a:lnTo>
                      <a:lnTo>
                        <a:pt x="447" y="545"/>
                      </a:lnTo>
                      <a:lnTo>
                        <a:pt x="456" y="539"/>
                      </a:lnTo>
                      <a:lnTo>
                        <a:pt x="466" y="532"/>
                      </a:lnTo>
                      <a:lnTo>
                        <a:pt x="476" y="525"/>
                      </a:lnTo>
                      <a:lnTo>
                        <a:pt x="484" y="518"/>
                      </a:lnTo>
                      <a:lnTo>
                        <a:pt x="494" y="512"/>
                      </a:lnTo>
                      <a:lnTo>
                        <a:pt x="502" y="505"/>
                      </a:lnTo>
                      <a:lnTo>
                        <a:pt x="511" y="497"/>
                      </a:lnTo>
                      <a:lnTo>
                        <a:pt x="520" y="491"/>
                      </a:lnTo>
                      <a:lnTo>
                        <a:pt x="528" y="483"/>
                      </a:lnTo>
                      <a:lnTo>
                        <a:pt x="536" y="475"/>
                      </a:lnTo>
                      <a:lnTo>
                        <a:pt x="545" y="467"/>
                      </a:lnTo>
                      <a:lnTo>
                        <a:pt x="552" y="459"/>
                      </a:lnTo>
                      <a:lnTo>
                        <a:pt x="561" y="451"/>
                      </a:lnTo>
                      <a:lnTo>
                        <a:pt x="569" y="443"/>
                      </a:lnTo>
                      <a:lnTo>
                        <a:pt x="576" y="435"/>
                      </a:lnTo>
                      <a:lnTo>
                        <a:pt x="584" y="426"/>
                      </a:lnTo>
                      <a:lnTo>
                        <a:pt x="591" y="418"/>
                      </a:lnTo>
                      <a:lnTo>
                        <a:pt x="598" y="409"/>
                      </a:lnTo>
                      <a:lnTo>
                        <a:pt x="605" y="400"/>
                      </a:lnTo>
                      <a:lnTo>
                        <a:pt x="612" y="391"/>
                      </a:lnTo>
                      <a:lnTo>
                        <a:pt x="619" y="382"/>
                      </a:lnTo>
                      <a:lnTo>
                        <a:pt x="625" y="372"/>
                      </a:lnTo>
                      <a:lnTo>
                        <a:pt x="632" y="363"/>
                      </a:lnTo>
                      <a:lnTo>
                        <a:pt x="639" y="353"/>
                      </a:lnTo>
                      <a:lnTo>
                        <a:pt x="644" y="345"/>
                      </a:lnTo>
                      <a:lnTo>
                        <a:pt x="650" y="334"/>
                      </a:lnTo>
                      <a:lnTo>
                        <a:pt x="656" y="324"/>
                      </a:lnTo>
                      <a:lnTo>
                        <a:pt x="662" y="315"/>
                      </a:lnTo>
                      <a:lnTo>
                        <a:pt x="667" y="305"/>
                      </a:lnTo>
                      <a:lnTo>
                        <a:pt x="672" y="295"/>
                      </a:lnTo>
                      <a:lnTo>
                        <a:pt x="677" y="285"/>
                      </a:lnTo>
                      <a:lnTo>
                        <a:pt x="682" y="275"/>
                      </a:lnTo>
                      <a:lnTo>
                        <a:pt x="687" y="264"/>
                      </a:lnTo>
                      <a:lnTo>
                        <a:pt x="691" y="253"/>
                      </a:lnTo>
                      <a:lnTo>
                        <a:pt x="695" y="243"/>
                      </a:lnTo>
                      <a:lnTo>
                        <a:pt x="700" y="232"/>
                      </a:lnTo>
                      <a:lnTo>
                        <a:pt x="704" y="222"/>
                      </a:lnTo>
                      <a:lnTo>
                        <a:pt x="708" y="211"/>
                      </a:lnTo>
                      <a:lnTo>
                        <a:pt x="712" y="201"/>
                      </a:lnTo>
                      <a:lnTo>
                        <a:pt x="715" y="190"/>
                      </a:lnTo>
                      <a:lnTo>
                        <a:pt x="718" y="179"/>
                      </a:lnTo>
                      <a:lnTo>
                        <a:pt x="721" y="168"/>
                      </a:lnTo>
                      <a:lnTo>
                        <a:pt x="724" y="157"/>
                      </a:lnTo>
                      <a:lnTo>
                        <a:pt x="726" y="146"/>
                      </a:lnTo>
                      <a:lnTo>
                        <a:pt x="729" y="135"/>
                      </a:lnTo>
                      <a:lnTo>
                        <a:pt x="731" y="124"/>
                      </a:lnTo>
                      <a:lnTo>
                        <a:pt x="733" y="112"/>
                      </a:lnTo>
                      <a:lnTo>
                        <a:pt x="735" y="102"/>
                      </a:lnTo>
                      <a:lnTo>
                        <a:pt x="737" y="90"/>
                      </a:lnTo>
                      <a:lnTo>
                        <a:pt x="739" y="79"/>
                      </a:lnTo>
                      <a:lnTo>
                        <a:pt x="739" y="68"/>
                      </a:lnTo>
                      <a:lnTo>
                        <a:pt x="740" y="57"/>
                      </a:lnTo>
                      <a:lnTo>
                        <a:pt x="741" y="45"/>
                      </a:lnTo>
                      <a:lnTo>
                        <a:pt x="742" y="34"/>
                      </a:lnTo>
                      <a:lnTo>
                        <a:pt x="742" y="22"/>
                      </a:lnTo>
                      <a:lnTo>
                        <a:pt x="743" y="12"/>
                      </a:lnTo>
                      <a:lnTo>
                        <a:pt x="743" y="0"/>
                      </a:lnTo>
                      <a:lnTo>
                        <a:pt x="1056" y="100"/>
                      </a:lnTo>
                      <a:lnTo>
                        <a:pt x="1393" y="0"/>
                      </a:lnTo>
                    </a:path>
                  </a:pathLst>
                </a:custGeom>
                <a:noFill/>
                <a:ln w="19050" cap="rnd">
                  <a:solidFill>
                    <a:srgbClr val="002D41"/>
                  </a:solidFill>
                  <a:round/>
                  <a:headEnd/>
                  <a:tailEnd/>
                </a:ln>
              </p:spPr>
              <p:txBody>
                <a:bodyPr lIns="72000" tIns="72000" rIns="72000" bIns="72000" anchor="ctr"/>
                <a:lstStyle/>
                <a:p>
                  <a:pPr>
                    <a:spcBef>
                      <a:spcPts val="800"/>
                    </a:spcBef>
                  </a:pPr>
                  <a:endParaRPr lang="de-DE" sz="800">
                    <a:latin typeface="+mn-lt"/>
                  </a:endParaRPr>
                </a:p>
              </p:txBody>
            </p:sp>
            <p:sp>
              <p:nvSpPr>
                <p:cNvPr id="44" name="Text Box 10">
                  <a:extLst>
                    <a:ext uri="{FF2B5EF4-FFF2-40B4-BE49-F238E27FC236}">
                      <a16:creationId xmlns:a16="http://schemas.microsoft.com/office/drawing/2014/main" id="{5DE3B1A5-0B25-4473-9AA0-5991D285EC26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2"/>
                  </p:custDataLst>
                </p:nvPr>
              </p:nvSpPr>
              <p:spPr bwMode="auto">
                <a:xfrm rot="2862967">
                  <a:off x="5700715" y="4716772"/>
                  <a:ext cx="808039" cy="807409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 lIns="0" tIns="0" rIns="0" bIns="0" anchor="ctr">
                  <a:spAutoFit/>
                </a:bodyPr>
                <a:lstStyle/>
                <a:p>
                  <a:pPr algn="ctr">
                    <a:spcBef>
                      <a:spcPts val="800"/>
                    </a:spcBef>
                    <a:buClrTx/>
                    <a:buSzTx/>
                    <a:buFontTx/>
                    <a:buNone/>
                  </a:pPr>
                  <a:r>
                    <a:rPr lang="de-DE" sz="800">
                      <a:latin typeface="+mn-lt"/>
                    </a:rPr>
                    <a:t>OKR </a:t>
                  </a:r>
                  <a:r>
                    <a:rPr lang="de-DE" sz="800"/>
                    <a:t>Überprü-fung</a:t>
                  </a:r>
                  <a:endParaRPr lang="de-DE" sz="800">
                    <a:latin typeface="+mn-lt"/>
                  </a:endParaRPr>
                </a:p>
              </p:txBody>
            </p:sp>
          </p:grpSp>
        </p:grpSp>
        <p:sp>
          <p:nvSpPr>
            <p:cNvPr id="34" name="Flowchart: Off-page Connector 16">
              <a:extLst>
                <a:ext uri="{FF2B5EF4-FFF2-40B4-BE49-F238E27FC236}">
                  <a16:creationId xmlns:a16="http://schemas.microsoft.com/office/drawing/2014/main" id="{18A7DFFC-88F8-49DC-ACA1-D8AFB2AEAB13}"/>
                </a:ext>
              </a:extLst>
            </p:cNvPr>
            <p:cNvSpPr/>
            <p:nvPr/>
          </p:nvSpPr>
          <p:spPr>
            <a:xfrm rot="16200000">
              <a:off x="2216696" y="3356992"/>
              <a:ext cx="1008112" cy="1872208"/>
            </a:xfrm>
            <a:prstGeom prst="flowChartOffpageConnector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lstStyle/>
            <a:p>
              <a:pPr algn="ctr"/>
              <a:r>
                <a:rPr lang="de-DE" sz="1050">
                  <a:solidFill>
                    <a:schemeClr val="tx1"/>
                  </a:solidFill>
                </a:rPr>
                <a:t>Vision</a:t>
              </a:r>
            </a:p>
          </p:txBody>
        </p:sp>
        <p:sp>
          <p:nvSpPr>
            <p:cNvPr id="35" name="Chevron 17">
              <a:extLst>
                <a:ext uri="{FF2B5EF4-FFF2-40B4-BE49-F238E27FC236}">
                  <a16:creationId xmlns:a16="http://schemas.microsoft.com/office/drawing/2014/main" id="{101FDA81-B67C-4ECF-8E4D-E552EE226428}"/>
                </a:ext>
              </a:extLst>
            </p:cNvPr>
            <p:cNvSpPr/>
            <p:nvPr/>
          </p:nvSpPr>
          <p:spPr>
            <a:xfrm>
              <a:off x="3483152" y="3789040"/>
              <a:ext cx="1872208" cy="1008112"/>
            </a:xfrm>
            <a:prstGeom prst="chevron">
              <a:avLst>
                <a:gd name="adj" fmla="val 41955"/>
              </a:avLst>
            </a:prstGeom>
            <a:noFill/>
            <a:ln w="19050">
              <a:solidFill>
                <a:srgbClr val="FAC3A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1050">
                  <a:solidFill>
                    <a:schemeClr val="tx1"/>
                  </a:solidFill>
                </a:rPr>
                <a:t>Strateg. Ziele</a:t>
              </a:r>
              <a:endParaRPr lang="de-DE" sz="400">
                <a:solidFill>
                  <a:schemeClr val="tx1"/>
                </a:solidFill>
              </a:endParaRPr>
            </a:p>
            <a:p>
              <a:pPr algn="ctr"/>
              <a:endParaRPr lang="de-DE" sz="400">
                <a:solidFill>
                  <a:schemeClr val="tx1"/>
                </a:solidFill>
              </a:endParaRPr>
            </a:p>
          </p:txBody>
        </p:sp>
        <p:grpSp>
          <p:nvGrpSpPr>
            <p:cNvPr id="36" name="Group 20">
              <a:extLst>
                <a:ext uri="{FF2B5EF4-FFF2-40B4-BE49-F238E27FC236}">
                  <a16:creationId xmlns:a16="http://schemas.microsoft.com/office/drawing/2014/main" id="{DDED1FA6-BB43-46A9-8F2B-CAC87F94AADF}"/>
                </a:ext>
              </a:extLst>
            </p:cNvPr>
            <p:cNvGrpSpPr/>
            <p:nvPr/>
          </p:nvGrpSpPr>
          <p:grpSpPr>
            <a:xfrm>
              <a:off x="2360710" y="4941168"/>
              <a:ext cx="3495679" cy="760721"/>
              <a:chOff x="2360710" y="4941168"/>
              <a:chExt cx="3495679" cy="760721"/>
            </a:xfrm>
            <a:solidFill>
              <a:schemeClr val="tx1"/>
            </a:solidFill>
          </p:grpSpPr>
          <p:sp>
            <p:nvSpPr>
              <p:cNvPr id="37" name="Bent-Up Arrow 18">
                <a:extLst>
                  <a:ext uri="{FF2B5EF4-FFF2-40B4-BE49-F238E27FC236}">
                    <a16:creationId xmlns:a16="http://schemas.microsoft.com/office/drawing/2014/main" id="{13735DC6-C4CE-4144-BE7F-697CBA45DDE0}"/>
                  </a:ext>
                </a:extLst>
              </p:cNvPr>
              <p:cNvSpPr/>
              <p:nvPr/>
            </p:nvSpPr>
            <p:spPr>
              <a:xfrm flipH="1">
                <a:off x="4067349" y="4941168"/>
                <a:ext cx="1789040" cy="760721"/>
              </a:xfrm>
              <a:prstGeom prst="bentUpArrow">
                <a:avLst/>
              </a:prstGeom>
              <a:solidFill>
                <a:schemeClr val="bg2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05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38" name="Bent-Up Arrow 19">
                <a:extLst>
                  <a:ext uri="{FF2B5EF4-FFF2-40B4-BE49-F238E27FC236}">
                    <a16:creationId xmlns:a16="http://schemas.microsoft.com/office/drawing/2014/main" id="{8A60244D-D87E-4194-87CD-E07BD96E1601}"/>
                  </a:ext>
                </a:extLst>
              </p:cNvPr>
              <p:cNvSpPr/>
              <p:nvPr/>
            </p:nvSpPr>
            <p:spPr>
              <a:xfrm flipH="1">
                <a:off x="2360710" y="4941168"/>
                <a:ext cx="1800201" cy="760721"/>
              </a:xfrm>
              <a:prstGeom prst="bentUpArrow">
                <a:avLst/>
              </a:prstGeom>
              <a:solidFill>
                <a:schemeClr val="bg2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050">
                  <a:solidFill>
                    <a:schemeClr val="accent2"/>
                  </a:solidFill>
                </a:endParaRPr>
              </a:p>
            </p:txBody>
          </p:sp>
        </p:grpSp>
      </p:grpSp>
      <p:sp>
        <p:nvSpPr>
          <p:cNvPr id="51" name="Rechteckige Legende 24">
            <a:extLst>
              <a:ext uri="{FF2B5EF4-FFF2-40B4-BE49-F238E27FC236}">
                <a16:creationId xmlns:a16="http://schemas.microsoft.com/office/drawing/2014/main" id="{7E603CEF-617C-47E0-8BE2-E98B6CDD5197}"/>
              </a:ext>
            </a:extLst>
          </p:cNvPr>
          <p:cNvSpPr/>
          <p:nvPr/>
        </p:nvSpPr>
        <p:spPr>
          <a:xfrm>
            <a:off x="454207" y="2748649"/>
            <a:ext cx="1554480" cy="1271328"/>
          </a:xfrm>
          <a:prstGeom prst="wedgeRectCallout">
            <a:avLst>
              <a:gd name="adj1" fmla="val 68206"/>
              <a:gd name="adj2" fmla="val -18840"/>
            </a:avLst>
          </a:prstGeom>
          <a:noFill/>
          <a:ln>
            <a:solidFill>
              <a:srgbClr val="FAC3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>
                <a:solidFill>
                  <a:schemeClr val="tx1"/>
                </a:solidFill>
              </a:rPr>
              <a:t>Unsere Vision haben wir bereits entwickelt!</a:t>
            </a:r>
          </a:p>
          <a:p>
            <a:pPr algn="ctr"/>
            <a:r>
              <a:rPr lang="de-DE" sz="1100">
                <a:solidFill>
                  <a:schemeClr val="tx1"/>
                </a:solidFill>
              </a:rPr>
              <a:t>… diese können wir aber natürlich bedarfsorientiert anpassen!</a:t>
            </a:r>
          </a:p>
        </p:txBody>
      </p:sp>
      <p:sp>
        <p:nvSpPr>
          <p:cNvPr id="52" name="Rechteckige Legende 25">
            <a:extLst>
              <a:ext uri="{FF2B5EF4-FFF2-40B4-BE49-F238E27FC236}">
                <a16:creationId xmlns:a16="http://schemas.microsoft.com/office/drawing/2014/main" id="{1432191A-B882-4356-ABD8-97AB4F83028C}"/>
              </a:ext>
            </a:extLst>
          </p:cNvPr>
          <p:cNvSpPr/>
          <p:nvPr/>
        </p:nvSpPr>
        <p:spPr>
          <a:xfrm>
            <a:off x="954406" y="1485703"/>
            <a:ext cx="2473168" cy="887895"/>
          </a:xfrm>
          <a:prstGeom prst="wedgeRectCallout">
            <a:avLst>
              <a:gd name="adj1" fmla="val 46616"/>
              <a:gd name="adj2" fmla="val 111564"/>
            </a:avLst>
          </a:prstGeom>
          <a:solidFill>
            <a:schemeClr val="bg1"/>
          </a:solidFill>
          <a:ln>
            <a:solidFill>
              <a:srgbClr val="FAC3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sz="1100">
                <a:solidFill>
                  <a:schemeClr val="tx1"/>
                </a:solidFill>
              </a:rPr>
              <a:t>Daraus entwickeln wir strategische Ziele für die nächste 1 bis 3 Jahre.</a:t>
            </a:r>
          </a:p>
          <a:p>
            <a:pPr algn="ctr"/>
            <a:r>
              <a:rPr lang="de-DE" sz="1100">
                <a:solidFill>
                  <a:schemeClr val="tx1"/>
                </a:solidFill>
              </a:rPr>
              <a:t>Zur Entwicklung der strategischen Ziele treffen wir uns immer persönlich.</a:t>
            </a:r>
            <a:endParaRPr lang="de-DE" sz="1100">
              <a:solidFill>
                <a:schemeClr val="tx1"/>
              </a:solidFill>
              <a:cs typeface="Arial"/>
            </a:endParaRPr>
          </a:p>
        </p:txBody>
      </p:sp>
      <p:sp>
        <p:nvSpPr>
          <p:cNvPr id="53" name="Rechteckige Legende 26">
            <a:extLst>
              <a:ext uri="{FF2B5EF4-FFF2-40B4-BE49-F238E27FC236}">
                <a16:creationId xmlns:a16="http://schemas.microsoft.com/office/drawing/2014/main" id="{DD2D11AC-D43F-40CD-BD2D-597A6F758874}"/>
              </a:ext>
            </a:extLst>
          </p:cNvPr>
          <p:cNvSpPr/>
          <p:nvPr/>
        </p:nvSpPr>
        <p:spPr>
          <a:xfrm>
            <a:off x="3477881" y="1217792"/>
            <a:ext cx="1265157" cy="1066141"/>
          </a:xfrm>
          <a:prstGeom prst="wedgeRectCallout">
            <a:avLst>
              <a:gd name="adj1" fmla="val 40202"/>
              <a:gd name="adj2" fmla="val 77513"/>
            </a:avLst>
          </a:prstGeom>
          <a:solidFill>
            <a:schemeClr val="bg1"/>
          </a:solidFill>
          <a:ln>
            <a:solidFill>
              <a:srgbClr val="FAC3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sz="1100">
                <a:solidFill>
                  <a:schemeClr val="tx1"/>
                </a:solidFill>
              </a:rPr>
              <a:t>1x im Quartal erarbeiten wir  im Team unsere Etappenziele und Kernergebnisse.</a:t>
            </a:r>
          </a:p>
        </p:txBody>
      </p:sp>
      <p:sp>
        <p:nvSpPr>
          <p:cNvPr id="54" name="Rechteckige Legende 27">
            <a:extLst>
              <a:ext uri="{FF2B5EF4-FFF2-40B4-BE49-F238E27FC236}">
                <a16:creationId xmlns:a16="http://schemas.microsoft.com/office/drawing/2014/main" id="{AA106852-4E12-474F-AEBE-30060174BAF1}"/>
              </a:ext>
            </a:extLst>
          </p:cNvPr>
          <p:cNvSpPr/>
          <p:nvPr/>
        </p:nvSpPr>
        <p:spPr>
          <a:xfrm>
            <a:off x="6103980" y="1176441"/>
            <a:ext cx="2302216" cy="984382"/>
          </a:xfrm>
          <a:prstGeom prst="wedgeRectCallout">
            <a:avLst>
              <a:gd name="adj1" fmla="val -57025"/>
              <a:gd name="adj2" fmla="val 63189"/>
            </a:avLst>
          </a:prstGeom>
          <a:solidFill>
            <a:schemeClr val="bg1"/>
          </a:solidFill>
          <a:ln>
            <a:solidFill>
              <a:srgbClr val="FAC3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sz="1100">
                <a:solidFill>
                  <a:schemeClr val="tx1"/>
                </a:solidFill>
              </a:rPr>
              <a:t>In wöchentlichen kurzen (digitalen) Meetings machen wir ein Update: Wo stehen wir in Bezug auf unsere Ziele?, Was läuft gut?, Wo braucht wer Unterstützung? </a:t>
            </a:r>
          </a:p>
        </p:txBody>
      </p:sp>
      <p:sp>
        <p:nvSpPr>
          <p:cNvPr id="55" name="Rechteckige Legende 28">
            <a:extLst>
              <a:ext uri="{FF2B5EF4-FFF2-40B4-BE49-F238E27FC236}">
                <a16:creationId xmlns:a16="http://schemas.microsoft.com/office/drawing/2014/main" id="{F1AC148A-7BF2-4253-9902-6FA63CAACAFF}"/>
              </a:ext>
            </a:extLst>
          </p:cNvPr>
          <p:cNvSpPr/>
          <p:nvPr/>
        </p:nvSpPr>
        <p:spPr>
          <a:xfrm>
            <a:off x="6653359" y="2748649"/>
            <a:ext cx="1997245" cy="1405731"/>
          </a:xfrm>
          <a:prstGeom prst="wedgeRectCallout">
            <a:avLst>
              <a:gd name="adj1" fmla="val -72763"/>
              <a:gd name="adj2" fmla="val 15771"/>
            </a:avLst>
          </a:prstGeom>
          <a:solidFill>
            <a:schemeClr val="bg1"/>
          </a:solidFill>
          <a:ln>
            <a:solidFill>
              <a:srgbClr val="FAC3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sz="1100" dirty="0">
                <a:solidFill>
                  <a:schemeClr val="tx1"/>
                </a:solidFill>
              </a:rPr>
              <a:t>Am Ende jeden Quartals machen wir einen (digitalen) Rückblick unserer Zielerreichung und Zusammenarbeit und nehmen (3) Verbesserungsimpulse für den nächsten Zyklus auf. </a:t>
            </a:r>
          </a:p>
        </p:txBody>
      </p:sp>
      <p:sp>
        <p:nvSpPr>
          <p:cNvPr id="56" name="Titel 8">
            <a:extLst>
              <a:ext uri="{FF2B5EF4-FFF2-40B4-BE49-F238E27FC236}">
                <a16:creationId xmlns:a16="http://schemas.microsoft.com/office/drawing/2014/main" id="{C577E4D3-8541-486D-85C2-F21D33280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199" y="699750"/>
            <a:ext cx="8280001" cy="335681"/>
          </a:xfrm>
        </p:spPr>
        <p:txBody>
          <a:bodyPr/>
          <a:lstStyle/>
          <a:p>
            <a:pPr>
              <a:lnSpc>
                <a:spcPts val="1500"/>
              </a:lnSpc>
            </a:pPr>
            <a:r>
              <a:rPr lang="de-DE" sz="1500" dirty="0"/>
              <a:t>So kann die OKR-Umsetzung aussehen</a:t>
            </a:r>
            <a:br>
              <a:rPr lang="de-DE" sz="1500" dirty="0"/>
            </a:b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338654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AD66A53-AF7B-41C2-B962-456F6D4EFE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ase 04-07: Strategische Ziele-Evaluation &amp; Anpass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EA405F5-9D7E-437C-9C68-C4B57E856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4</a:t>
            </a:fld>
            <a:endParaRPr lang="de-DE"/>
          </a:p>
        </p:txBody>
      </p:sp>
      <p:sp>
        <p:nvSpPr>
          <p:cNvPr id="56" name="Titel 8">
            <a:extLst>
              <a:ext uri="{FF2B5EF4-FFF2-40B4-BE49-F238E27FC236}">
                <a16:creationId xmlns:a16="http://schemas.microsoft.com/office/drawing/2014/main" id="{C577E4D3-8541-486D-85C2-F21D33280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199" y="699750"/>
            <a:ext cx="8280001" cy="335681"/>
          </a:xfrm>
        </p:spPr>
        <p:txBody>
          <a:bodyPr/>
          <a:lstStyle/>
          <a:p>
            <a:pPr>
              <a:lnSpc>
                <a:spcPts val="1500"/>
              </a:lnSpc>
            </a:pPr>
            <a:r>
              <a:rPr lang="de-DE" sz="1500" dirty="0"/>
              <a:t>Beispiel Zieldefinition</a:t>
            </a:r>
            <a:br>
              <a:rPr lang="de-DE" sz="1500" dirty="0"/>
            </a:b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2F576BA5-D7E0-4AC5-8380-8C2A6524C9BF}"/>
              </a:ext>
            </a:extLst>
          </p:cNvPr>
          <p:cNvSpPr/>
          <p:nvPr/>
        </p:nvSpPr>
        <p:spPr>
          <a:xfrm>
            <a:off x="472015" y="891540"/>
            <a:ext cx="8164483" cy="528450"/>
          </a:xfrm>
          <a:prstGeom prst="rect">
            <a:avLst/>
          </a:prstGeom>
          <a:solidFill>
            <a:srgbClr val="E600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lvl="8" algn="ctr"/>
            <a:r>
              <a:rPr lang="en-GB" sz="1000" dirty="0">
                <a:cs typeface="Arial"/>
              </a:rPr>
              <a:t>Wir errichten eine innovative und digitale Arbeitsumgebung, in der auf der Grundlage menschlichen Miteinanders innovative und niedrigschwellige Lösungen erarbeitet werden </a:t>
            </a:r>
            <a:endParaRPr lang="de-DE" sz="1000" dirty="0">
              <a:ea typeface="+mn-lt"/>
              <a:cs typeface="+mn-lt"/>
            </a:endParaRPr>
          </a:p>
          <a:p>
            <a:pPr marL="0" lvl="8" algn="ctr"/>
            <a:r>
              <a:rPr lang="en-GB" sz="1000" dirty="0">
                <a:cs typeface="Arial"/>
              </a:rPr>
              <a:t>können, die unseren Zielgruppen zugute kommen.</a:t>
            </a:r>
            <a:endParaRPr lang="de-DE" sz="1000" dirty="0"/>
          </a:p>
        </p:txBody>
      </p:sp>
      <p:graphicFrame>
        <p:nvGraphicFramePr>
          <p:cNvPr id="31" name="Tabelle 30">
            <a:extLst>
              <a:ext uri="{FF2B5EF4-FFF2-40B4-BE49-F238E27FC236}">
                <a16:creationId xmlns:a16="http://schemas.microsoft.com/office/drawing/2014/main" id="{46DFB18D-BD07-4BEA-91CA-07717CAC03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931420"/>
              </p:ext>
            </p:extLst>
          </p:nvPr>
        </p:nvGraphicFramePr>
        <p:xfrm>
          <a:off x="472015" y="1415207"/>
          <a:ext cx="8164483" cy="32702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4258">
                  <a:extLst>
                    <a:ext uri="{9D8B030D-6E8A-4147-A177-3AD203B41FA5}">
                      <a16:colId xmlns:a16="http://schemas.microsoft.com/office/drawing/2014/main" val="2252060270"/>
                    </a:ext>
                  </a:extLst>
                </a:gridCol>
                <a:gridCol w="2667175">
                  <a:extLst>
                    <a:ext uri="{9D8B030D-6E8A-4147-A177-3AD203B41FA5}">
                      <a16:colId xmlns:a16="http://schemas.microsoft.com/office/drawing/2014/main" val="552307848"/>
                    </a:ext>
                  </a:extLst>
                </a:gridCol>
                <a:gridCol w="4183050">
                  <a:extLst>
                    <a:ext uri="{9D8B030D-6E8A-4147-A177-3AD203B41FA5}">
                      <a16:colId xmlns:a16="http://schemas.microsoft.com/office/drawing/2014/main" val="3139989244"/>
                    </a:ext>
                  </a:extLst>
                </a:gridCol>
              </a:tblGrid>
              <a:tr h="268813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rategische Ziele</a:t>
                      </a:r>
                    </a:p>
                  </a:txBody>
                  <a:tcPr>
                    <a:solidFill>
                      <a:srgbClr val="FAC3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de-DE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tappenziele</a:t>
                      </a:r>
                    </a:p>
                  </a:txBody>
                  <a:tcPr>
                    <a:solidFill>
                      <a:srgbClr val="FAC3A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685800" rtl="0">
                        <a:buNone/>
                      </a:pPr>
                      <a:r>
                        <a:rPr lang="de-DE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ernergebnisse</a:t>
                      </a:r>
                      <a:endParaRPr lang="de-DE" sz="1000" dirty="0">
                        <a:latin typeface="+mn-lt"/>
                      </a:endParaRPr>
                    </a:p>
                  </a:txBody>
                  <a:tcPr>
                    <a:solidFill>
                      <a:srgbClr val="FAC3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0933468"/>
                  </a:ext>
                </a:extLst>
              </a:tr>
              <a:tr h="280682">
                <a:tc rowSpan="4"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b="0" i="0" u="none" strike="noStrike" noProof="0">
                          <a:solidFill>
                            <a:schemeClr val="dk1"/>
                          </a:solidFill>
                          <a:latin typeface="+mn-lt"/>
                        </a:rPr>
                        <a:t>Die Mitarbeitenden und Führungskräfte (Haupt- &amp; Ehrenamt) arbeiten zunehmend digital und agil.</a:t>
                      </a:r>
                    </a:p>
                  </a:txBody>
                  <a:tcPr>
                    <a:solidFill>
                      <a:srgbClr val="EBF5F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e Mitarbeitenden und Führungskräfte wissen mehr über digitale Zusammenarbeit.</a:t>
                      </a:r>
                    </a:p>
                  </a:txBody>
                  <a:tcPr>
                    <a:solidFill>
                      <a:srgbClr val="EBF5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 </a:t>
                      </a: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  <a:t>Wir haben 4 Online-Schulungen zum Thema "Digitale Zusammenarbeit" durchgeführt.</a:t>
                      </a:r>
                    </a:p>
                  </a:txBody>
                  <a:tcPr>
                    <a:solidFill>
                      <a:srgbClr val="EBF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941260"/>
                  </a:ext>
                </a:extLst>
              </a:tr>
              <a:tr h="452951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de-DE" sz="11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EBF5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000" dirty="0">
                          <a:solidFill>
                            <a:schemeClr val="tx1"/>
                          </a:solidFill>
                          <a:latin typeface="+mn-lt"/>
                        </a:rPr>
                        <a:t>2. Wir haben einen monatlichen Austausch zu Best Practices digitaler Zusammenarbeit etabliert.</a:t>
                      </a:r>
                    </a:p>
                  </a:txBody>
                  <a:tcPr>
                    <a:solidFill>
                      <a:srgbClr val="EBF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3528733"/>
                  </a:ext>
                </a:extLst>
              </a:tr>
              <a:tr h="452951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de-DE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e Mitarbeitenden und Führungskräfte haben die notwendige Hardware für digitales Arbeiten. </a:t>
                      </a:r>
                    </a:p>
                  </a:txBody>
                  <a:tcPr>
                    <a:solidFill>
                      <a:srgbClr val="EBF5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de-DE" sz="1000" dirty="0">
                          <a:solidFill>
                            <a:schemeClr val="tx1"/>
                          </a:solidFill>
                          <a:latin typeface="+mn-lt"/>
                        </a:rPr>
                        <a:t>1. Mit einer Umfrage haben wir den Bedarf für Hardware bei Mitarbeitenden und Führungskräften bis zum 15. März erhoben.</a:t>
                      </a:r>
                    </a:p>
                  </a:txBody>
                  <a:tcPr>
                    <a:solidFill>
                      <a:srgbClr val="EBF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867968"/>
                  </a:ext>
                </a:extLst>
              </a:tr>
              <a:tr h="397118">
                <a:tc vMerge="1"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de-DE" sz="1100" b="0" i="0" u="none" strike="noStrike" noProof="0">
                        <a:solidFill>
                          <a:schemeClr val="dk1"/>
                        </a:solidFill>
                        <a:latin typeface="Arial"/>
                      </a:endParaRPr>
                    </a:p>
                  </a:txBody>
                  <a:tcPr>
                    <a:solidFill>
                      <a:srgbClr val="EBF5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de-DE" sz="11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EBF5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de-DE" sz="1000" dirty="0">
                          <a:solidFill>
                            <a:schemeClr val="tx1"/>
                          </a:solidFill>
                          <a:latin typeface="+mn-lt"/>
                        </a:rPr>
                        <a:t>2. Die Bestellung der priorisierten Hardware (Umfrageergebnis, finanzielle Ressourcen) wurde ausgeführt.</a:t>
                      </a:r>
                    </a:p>
                  </a:txBody>
                  <a:tcPr>
                    <a:solidFill>
                      <a:srgbClr val="EBF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2142430"/>
                  </a:ext>
                </a:extLst>
              </a:tr>
              <a:tr h="452951">
                <a:tc rowSpan="3"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de-DE" sz="1000" b="0" i="0" u="none" strike="noStrike" noProof="0">
                          <a:solidFill>
                            <a:schemeClr val="dk1"/>
                          </a:solidFill>
                          <a:latin typeface="+mn-lt"/>
                        </a:rPr>
                        <a:t>Unser Leistungsportfolio umfasst auch erprobte digitale Angebote</a:t>
                      </a:r>
                    </a:p>
                  </a:txBody>
                  <a:tcPr>
                    <a:solidFill>
                      <a:srgbClr val="FAC3A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/>
                      <a:r>
                        <a:rPr lang="de-DE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r haben für den Bereich "Pflege" ein Konzept zum Einsatz digitaler Angebote erarbeitet und abgestimmt.</a:t>
                      </a:r>
                    </a:p>
                  </a:txBody>
                  <a:tcPr>
                    <a:solidFill>
                      <a:srgbClr val="FAC3A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de-DE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 Wir haben Interviews mit Personal in 10 Einrichtungen durchgeführt, um Bedarfe vor Ort zu erheben.</a:t>
                      </a:r>
                    </a:p>
                  </a:txBody>
                  <a:tcPr>
                    <a:solidFill>
                      <a:srgbClr val="FAC3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0659286"/>
                  </a:ext>
                </a:extLst>
              </a:tr>
              <a:tr h="452951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de-DE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 W</a:t>
                      </a:r>
                      <a:r>
                        <a:rPr lang="de-DE" sz="1000" b="0" i="0" u="none" strike="noStrike" kern="1200" noProof="0" dirty="0" err="1">
                          <a:solidFill>
                            <a:schemeClr val="tx1"/>
                          </a:solidFill>
                          <a:latin typeface="+mn-lt"/>
                        </a:rPr>
                        <a:t>ir</a:t>
                      </a:r>
                      <a:r>
                        <a:rPr lang="de-DE" sz="1000" b="0" i="0" u="none" strike="noStrike" kern="1200" noProof="0" dirty="0">
                          <a:solidFill>
                            <a:schemeClr val="tx1"/>
                          </a:solidFill>
                          <a:latin typeface="+mn-lt"/>
                        </a:rPr>
                        <a:t> haben unsere bestehenden Angebote im Bereich "Stationäre Pflege" analysiert und 3 digitale Potenziale identifiziert.</a:t>
                      </a:r>
                      <a:endParaRPr lang="de-DE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AC3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6697285"/>
                  </a:ext>
                </a:extLst>
              </a:tr>
              <a:tr h="366638">
                <a:tc vMerge="1">
                  <a:txBody>
                    <a:bodyPr/>
                    <a:lstStyle/>
                    <a:p>
                      <a:pPr marL="0" lvl="0" indent="0">
                        <a:buNone/>
                      </a:pPr>
                      <a:endParaRPr lang="de-DE" sz="1100" b="0" i="0" u="none" strike="noStrike" noProof="0">
                        <a:solidFill>
                          <a:schemeClr val="dk1"/>
                        </a:solidFill>
                        <a:latin typeface="Arial"/>
                      </a:endParaRPr>
                    </a:p>
                  </a:txBody>
                  <a:tcPr>
                    <a:solidFill>
                      <a:srgbClr val="FAC3A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de-DE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AC3A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de-DE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 Wir haben den Konzeptentwurf allen Mitarbeitenden im Bereich "Stationäre Pflege Anfang März vorgestellt.</a:t>
                      </a:r>
                    </a:p>
                  </a:txBody>
                  <a:tcPr>
                    <a:solidFill>
                      <a:srgbClr val="FAC3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07026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12439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AD66A53-AF7B-41C2-B962-456F6D4EFE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Phase 04-07: Strategische Ziele-Evaluation &amp; Anpass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EA405F5-9D7E-437C-9C68-C4B57E856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DB90F9-9C8B-4738-A50E-8F04301A8C13}" type="slidenum">
              <a:rPr lang="de-DE" smtClean="0"/>
              <a:t>5</a:t>
            </a:fld>
            <a:endParaRPr lang="de-DE"/>
          </a:p>
        </p:txBody>
      </p:sp>
      <p:sp>
        <p:nvSpPr>
          <p:cNvPr id="56" name="Titel 8">
            <a:extLst>
              <a:ext uri="{FF2B5EF4-FFF2-40B4-BE49-F238E27FC236}">
                <a16:creationId xmlns:a16="http://schemas.microsoft.com/office/drawing/2014/main" id="{C577E4D3-8541-486D-85C2-F21D33280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199" y="699750"/>
            <a:ext cx="8280001" cy="335681"/>
          </a:xfrm>
        </p:spPr>
        <p:txBody>
          <a:bodyPr/>
          <a:lstStyle/>
          <a:p>
            <a:pPr>
              <a:lnSpc>
                <a:spcPts val="1500"/>
              </a:lnSpc>
            </a:pPr>
            <a:r>
              <a:rPr lang="de-DE" sz="1500" dirty="0"/>
              <a:t>Vorlage Zieldefinition</a:t>
            </a:r>
            <a:br>
              <a:rPr lang="de-DE" sz="1500" dirty="0"/>
            </a:b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2F576BA5-D7E0-4AC5-8380-8C2A6524C9BF}"/>
              </a:ext>
            </a:extLst>
          </p:cNvPr>
          <p:cNvSpPr/>
          <p:nvPr/>
        </p:nvSpPr>
        <p:spPr>
          <a:xfrm>
            <a:off x="472015" y="1028700"/>
            <a:ext cx="8164483" cy="528450"/>
          </a:xfrm>
          <a:prstGeom prst="rect">
            <a:avLst/>
          </a:prstGeom>
          <a:solidFill>
            <a:srgbClr val="E600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lvl="8" algn="ctr"/>
            <a:r>
              <a:rPr lang="de-DE" sz="1000" dirty="0"/>
              <a:t>[</a:t>
            </a:r>
            <a:r>
              <a:rPr lang="de-DE" sz="1000" dirty="0">
                <a:cs typeface="Arial"/>
              </a:rPr>
              <a:t>VISION einfügen</a:t>
            </a:r>
            <a:r>
              <a:rPr lang="de-DE" sz="1000" dirty="0"/>
              <a:t>]</a:t>
            </a:r>
          </a:p>
        </p:txBody>
      </p:sp>
      <p:graphicFrame>
        <p:nvGraphicFramePr>
          <p:cNvPr id="31" name="Tabelle 30">
            <a:extLst>
              <a:ext uri="{FF2B5EF4-FFF2-40B4-BE49-F238E27FC236}">
                <a16:creationId xmlns:a16="http://schemas.microsoft.com/office/drawing/2014/main" id="{46DFB18D-BD07-4BEA-91CA-07717CAC03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7138325"/>
              </p:ext>
            </p:extLst>
          </p:nvPr>
        </p:nvGraphicFramePr>
        <p:xfrm>
          <a:off x="472015" y="1552367"/>
          <a:ext cx="8164483" cy="26868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4258">
                  <a:extLst>
                    <a:ext uri="{9D8B030D-6E8A-4147-A177-3AD203B41FA5}">
                      <a16:colId xmlns:a16="http://schemas.microsoft.com/office/drawing/2014/main" val="2252060270"/>
                    </a:ext>
                  </a:extLst>
                </a:gridCol>
                <a:gridCol w="2667175">
                  <a:extLst>
                    <a:ext uri="{9D8B030D-6E8A-4147-A177-3AD203B41FA5}">
                      <a16:colId xmlns:a16="http://schemas.microsoft.com/office/drawing/2014/main" val="552307848"/>
                    </a:ext>
                  </a:extLst>
                </a:gridCol>
                <a:gridCol w="4183050">
                  <a:extLst>
                    <a:ext uri="{9D8B030D-6E8A-4147-A177-3AD203B41FA5}">
                      <a16:colId xmlns:a16="http://schemas.microsoft.com/office/drawing/2014/main" val="3139989244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rategische Ziele</a:t>
                      </a:r>
                    </a:p>
                  </a:txBody>
                  <a:tcPr>
                    <a:solidFill>
                      <a:srgbClr val="FAC3A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de-DE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tappenziele</a:t>
                      </a:r>
                    </a:p>
                  </a:txBody>
                  <a:tcPr>
                    <a:solidFill>
                      <a:srgbClr val="FAC3A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685800" rtl="0">
                        <a:buNone/>
                      </a:pPr>
                      <a:r>
                        <a:rPr lang="de-DE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ernergebnisse</a:t>
                      </a:r>
                      <a:endParaRPr lang="de-DE" sz="1000" dirty="0">
                        <a:latin typeface="+mn-lt"/>
                      </a:endParaRPr>
                    </a:p>
                  </a:txBody>
                  <a:tcPr>
                    <a:solidFill>
                      <a:srgbClr val="FAC3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0933468"/>
                  </a:ext>
                </a:extLst>
              </a:tr>
              <a:tr h="314960">
                <a:tc rowSpan="3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de-DE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[Strategisches Ziel 1 einfügen]</a:t>
                      </a:r>
                    </a:p>
                  </a:txBody>
                  <a:tcPr>
                    <a:solidFill>
                      <a:srgbClr val="EBF5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/>
                        <a:t>[Etappenziel 1.1 einfügen]</a:t>
                      </a:r>
                      <a:endParaRPr lang="de-DE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EBF5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Kernergebnisse zu Etappenziel 1.1 einfügen]</a:t>
                      </a:r>
                    </a:p>
                  </a:txBody>
                  <a:tcPr>
                    <a:solidFill>
                      <a:srgbClr val="EBF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941260"/>
                  </a:ext>
                </a:extLst>
              </a:tr>
              <a:tr h="18000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/>
                        <a:t>[Etappenziel 1.2 einfügen]</a:t>
                      </a:r>
                      <a:endParaRPr lang="de-DE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EBF5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Kernergebnisse zu Etappenziel 1.2 einfügen]</a:t>
                      </a:r>
                      <a:endParaRPr lang="de-DE" dirty="0"/>
                    </a:p>
                  </a:txBody>
                  <a:tcPr>
                    <a:solidFill>
                      <a:srgbClr val="EBF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2924088"/>
                  </a:ext>
                </a:extLst>
              </a:tr>
              <a:tr h="18000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/>
                        <a:t>[Etappenziel 1.3 einfügen]</a:t>
                      </a:r>
                      <a:endParaRPr lang="de-DE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EBF5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Kernergebnisse zu Etappenziel 1.3 einfügen]</a:t>
                      </a:r>
                    </a:p>
                  </a:txBody>
                  <a:tcPr>
                    <a:solidFill>
                      <a:srgbClr val="EBF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867968"/>
                  </a:ext>
                </a:extLst>
              </a:tr>
              <a:tr h="180000">
                <a:tc rowSpan="3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de-DE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[Strategisches Ziel 2 einfügen]</a:t>
                      </a:r>
                    </a:p>
                  </a:txBody>
                  <a:tcPr>
                    <a:solidFill>
                      <a:srgbClr val="FAC3A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/>
                        <a:t>[Etappenziel 2.1 einfügen]</a:t>
                      </a:r>
                      <a:endParaRPr lang="de-DE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AC3A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Kernergebnisse zu Etappenziel 2.1 einfügen]</a:t>
                      </a:r>
                    </a:p>
                  </a:txBody>
                  <a:tcPr>
                    <a:solidFill>
                      <a:srgbClr val="FAC3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0659286"/>
                  </a:ext>
                </a:extLst>
              </a:tr>
              <a:tr h="18000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/>
                        <a:t>[Etappenziel 2.2 einfügen]</a:t>
                      </a:r>
                      <a:endParaRPr lang="de-DE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AC3A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Kernergebnisse zu Etappenziel 2.2 einfügen]</a:t>
                      </a:r>
                    </a:p>
                  </a:txBody>
                  <a:tcPr>
                    <a:solidFill>
                      <a:srgbClr val="FAC3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6697285"/>
                  </a:ext>
                </a:extLst>
              </a:tr>
              <a:tr h="180000">
                <a:tc vMerge="1">
                  <a:txBody>
                    <a:bodyPr/>
                    <a:lstStyle/>
                    <a:p>
                      <a:pPr marL="0" lvl="0" indent="0">
                        <a:buNone/>
                      </a:pPr>
                      <a:endParaRPr lang="de-DE" sz="1100" b="0" i="0" u="none" strike="noStrike" noProof="0">
                        <a:solidFill>
                          <a:schemeClr val="dk1"/>
                        </a:solidFill>
                        <a:latin typeface="Arial"/>
                      </a:endParaRPr>
                    </a:p>
                  </a:txBody>
                  <a:tcPr>
                    <a:solidFill>
                      <a:srgbClr val="FAC3A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/>
                        <a:t>[Etappenziel 2.3 einfügen]</a:t>
                      </a:r>
                      <a:endParaRPr lang="de-DE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AC3A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Kernergebnisse zu Etappenziel 2.3 einfügen]</a:t>
                      </a:r>
                    </a:p>
                  </a:txBody>
                  <a:tcPr>
                    <a:solidFill>
                      <a:srgbClr val="FAC3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0702659"/>
                  </a:ext>
                </a:extLst>
              </a:tr>
              <a:tr h="350093">
                <a:tc rowSpan="3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de-DE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[Strategisches Ziel 3 einfügen]</a:t>
                      </a:r>
                    </a:p>
                  </a:txBody>
                  <a:tcPr>
                    <a:solidFill>
                      <a:srgbClr val="EC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/>
                        <a:t>[Etappenziel 3.1 einfügen]</a:t>
                      </a:r>
                      <a:endParaRPr lang="de-DE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ECF6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Kernergebnisse zu Etappenziel 3.1 einfügen]</a:t>
                      </a:r>
                    </a:p>
                  </a:txBody>
                  <a:tcPr>
                    <a:solidFill>
                      <a:srgbClr val="ECF6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6081752"/>
                  </a:ext>
                </a:extLst>
              </a:tr>
              <a:tr h="31496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FAC3A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1000" dirty="0"/>
                        <a:t>[Etappenziel 3.2 einfügen]</a:t>
                      </a:r>
                      <a:endParaRPr lang="de-DE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ECF6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Kernergebnisse zu Etappenziel 3.2 einfügen]</a:t>
                      </a:r>
                    </a:p>
                  </a:txBody>
                  <a:tcPr>
                    <a:solidFill>
                      <a:srgbClr val="ECF6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3042380"/>
                  </a:ext>
                </a:extLst>
              </a:tr>
              <a:tr h="18000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FAC3A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/>
                        <a:t>[Etappenziel 3.3 einfügen]</a:t>
                      </a:r>
                      <a:endParaRPr lang="de-DE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EC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[Kernergebnisse zu Etappenziel 3.3 einfügen]</a:t>
                      </a:r>
                    </a:p>
                  </a:txBody>
                  <a:tcPr>
                    <a:solidFill>
                      <a:srgbClr val="ECF6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31839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75951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7SxXBBJUmnNSAzAZZGQ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TY.63VKUGCwTAFXKN6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oF0lcBt0uDPxPu5IAO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nlJTivek.UwIWMv.oE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VV8w60ckONw.pJoTG2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d.cAZKC06eFQnJX.WM_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Sr2sxVnUyQF8c79gHT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28Ky3GikGqGTHgE4mO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TY.63VKUGCwTAFXKN6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oF0lcBt0uDPxPu5IAO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nlJTivek.UwIWMv.oE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VV8w60ckONw.pJoTG2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d.cAZKC06eFQnJX.WM_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Sr2sxVnUyQF8c79gHT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28Ky3GikGqGTHgE4mOz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7SxXBBJUmnNSAzAZZGQQ"/>
</p:tagLst>
</file>

<file path=ppt/theme/theme1.xml><?xml version="1.0" encoding="utf-8"?>
<a:theme xmlns:a="http://schemas.openxmlformats.org/drawingml/2006/main" name="Office">
  <a:themeElements>
    <a:clrScheme name="DRK">
      <a:dk1>
        <a:sysClr val="windowText" lastClr="000000"/>
      </a:dk1>
      <a:lt1>
        <a:sysClr val="window" lastClr="FFFFFF"/>
      </a:lt1>
      <a:dk2>
        <a:srgbClr val="E60005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DRK">
      <a:majorFont>
        <a:latin typeface="Merriweather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RK_Praesentation_16zu9_Georgia.potx" id="{7F614E8A-33B5-4710-863B-76F56DA7A5D8}" vid="{FC47C9DF-28F1-4362-A622-6157228DA32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8d7a9c6-e82d-4466-9e7a-badf8676663c">UPW7SVMUV64P-1210661889-897436</_dlc_DocId>
    <_dlc_DocIdUrl xmlns="e8d7a9c6-e82d-4466-9e7a-badf8676663c">
      <Url>https://drkgsberlin.sharepoint.com/sites/Bereich_4/_layouts/15/DocIdRedir.aspx?ID=UPW7SVMUV64P-1210661889-897436</Url>
      <Description>UPW7SVMUV64P-1210661889-897436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93050C74D0DF746890CF64B245C9CD6" ma:contentTypeVersion="4714" ma:contentTypeDescription="Ein neues Dokument erstellen." ma:contentTypeScope="" ma:versionID="1c24d62734fbf93ee782aec0a198b699">
  <xsd:schema xmlns:xsd="http://www.w3.org/2001/XMLSchema" xmlns:xs="http://www.w3.org/2001/XMLSchema" xmlns:p="http://schemas.microsoft.com/office/2006/metadata/properties" xmlns:ns2="e8d7a9c6-e82d-4466-9e7a-badf8676663c" xmlns:ns3="d02bc21f-b422-453a-9fda-7f6baffa8462" targetNamespace="http://schemas.microsoft.com/office/2006/metadata/properties" ma:root="true" ma:fieldsID="bac9cb94ef1b29e8bb1c4d25be46e24b" ns2:_="" ns3:_="">
    <xsd:import namespace="e8d7a9c6-e82d-4466-9e7a-badf8676663c"/>
    <xsd:import namespace="d02bc21f-b422-453a-9fda-7f6baffa8462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2:SharedWithUsers" minOccurs="0"/>
                <xsd:element ref="ns2:SharedWithDetail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d7a9c6-e82d-4466-9e7a-badf8676663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3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2bc21f-b422-453a-9fda-7f6baffa846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656EC9-E8A6-4F73-BFB6-0973C830A2D7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D6E1EBA2-76DE-4254-89E2-16E583A2E63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299272E-E91D-452E-874D-C03AA203AA18}">
  <ds:schemaRefs>
    <ds:schemaRef ds:uri="http://schemas.microsoft.com/office/2006/metadata/properties"/>
    <ds:schemaRef ds:uri="http://schemas.microsoft.com/office/infopath/2007/PartnerControls"/>
    <ds:schemaRef ds:uri="e8d7a9c6-e82d-4466-9e7a-badf8676663c"/>
  </ds:schemaRefs>
</ds:datastoreItem>
</file>

<file path=customXml/itemProps4.xml><?xml version="1.0" encoding="utf-8"?>
<ds:datastoreItem xmlns:ds="http://schemas.openxmlformats.org/officeDocument/2006/customXml" ds:itemID="{5CEF86B0-89D2-4F4F-9E08-214943441E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d7a9c6-e82d-4466-9e7a-badf8676663c"/>
    <ds:schemaRef ds:uri="d02bc21f-b422-453a-9fda-7f6baffa846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</Template>
  <TotalTime>0</TotalTime>
  <Words>583</Words>
  <Application>Microsoft Office PowerPoint</Application>
  <PresentationFormat>Bildschirmpräsentation (16:9)</PresentationFormat>
  <Paragraphs>79</Paragraphs>
  <Slides>5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Arial</vt:lpstr>
      <vt:lpstr>Calibri</vt:lpstr>
      <vt:lpstr>Georgia</vt:lpstr>
      <vt:lpstr>Merriweather</vt:lpstr>
      <vt:lpstr>Symbol</vt:lpstr>
      <vt:lpstr>Office</vt:lpstr>
      <vt:lpstr>OKR-Methode</vt:lpstr>
      <vt:lpstr>Übersicht OKR-Methode  </vt:lpstr>
      <vt:lpstr>So kann die OKR-Umsetzung aussehen  </vt:lpstr>
      <vt:lpstr>Beispiel Zieldefinition  </vt:lpstr>
      <vt:lpstr>Vorlage Zieldefinition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</dc:title>
  <dc:creator>Sherpa Design</dc:creator>
  <cp:lastModifiedBy>Anna-Lena Kose</cp:lastModifiedBy>
  <cp:revision>30</cp:revision>
  <dcterms:created xsi:type="dcterms:W3CDTF">2020-11-10T08:53:01Z</dcterms:created>
  <dcterms:modified xsi:type="dcterms:W3CDTF">2020-11-30T20:1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ho_HilfslinienVertical">
    <vt:lpwstr>CustomLayout</vt:lpwstr>
  </property>
  <property fmtid="{D5CDD505-2E9C-101B-9397-08002B2CF9AE}" pid="3" name="ho_HilfslinienVertical1">
    <vt:lpwstr>1.2</vt:lpwstr>
  </property>
  <property fmtid="{D5CDD505-2E9C-101B-9397-08002B2CF9AE}" pid="4" name="ho_HilfslinienVertical2">
    <vt:lpwstr>12.4</vt:lpwstr>
  </property>
  <property fmtid="{D5CDD505-2E9C-101B-9397-08002B2CF9AE}" pid="5" name="ho_HilfslinienVertical3">
    <vt:lpwstr>13</vt:lpwstr>
  </property>
  <property fmtid="{D5CDD505-2E9C-101B-9397-08002B2CF9AE}" pid="6" name="ho_HilfslinienVertical4">
    <vt:lpwstr>24.2</vt:lpwstr>
  </property>
  <property fmtid="{D5CDD505-2E9C-101B-9397-08002B2CF9AE}" pid="7" name="ho_HilfslinienVertical5">
    <vt:lpwstr>23.9</vt:lpwstr>
  </property>
  <property fmtid="{D5CDD505-2E9C-101B-9397-08002B2CF9AE}" pid="8" name="ho_HilfslinienVertical6">
    <vt:lpwstr>5.2</vt:lpwstr>
  </property>
  <property fmtid="{D5CDD505-2E9C-101B-9397-08002B2CF9AE}" pid="9" name="ho_HilfslinienVertical7">
    <vt:lpwstr/>
  </property>
  <property fmtid="{D5CDD505-2E9C-101B-9397-08002B2CF9AE}" pid="10" name="ho_HilfslinienVertical8">
    <vt:lpwstr/>
  </property>
  <property fmtid="{D5CDD505-2E9C-101B-9397-08002B2CF9AE}" pid="11" name="ho_HilfslinienVertical9">
    <vt:lpwstr/>
  </property>
  <property fmtid="{D5CDD505-2E9C-101B-9397-08002B2CF9AE}" pid="12" name="ho_HilfslinienVertical10">
    <vt:lpwstr/>
  </property>
  <property fmtid="{D5CDD505-2E9C-101B-9397-08002B2CF9AE}" pid="13" name="ho_HilfslinienVertical11">
    <vt:lpwstr/>
  </property>
  <property fmtid="{D5CDD505-2E9C-101B-9397-08002B2CF9AE}" pid="14" name="ho_HilfslinienVertical12">
    <vt:lpwstr/>
  </property>
  <property fmtid="{D5CDD505-2E9C-101B-9397-08002B2CF9AE}" pid="15" name="ho_HilfslinienVertical13">
    <vt:lpwstr/>
  </property>
  <property fmtid="{D5CDD505-2E9C-101B-9397-08002B2CF9AE}" pid="16" name="ho_HilfslinienVertical14">
    <vt:lpwstr/>
  </property>
  <property fmtid="{D5CDD505-2E9C-101B-9397-08002B2CF9AE}" pid="17" name="ho_HilfslinienVertical15">
    <vt:lpwstr/>
  </property>
  <property fmtid="{D5CDD505-2E9C-101B-9397-08002B2CF9AE}" pid="18" name="ho_HilfslinienVertical16">
    <vt:lpwstr/>
  </property>
  <property fmtid="{D5CDD505-2E9C-101B-9397-08002B2CF9AE}" pid="19" name="ho_HilfslinienVertical17">
    <vt:lpwstr/>
  </property>
  <property fmtid="{D5CDD505-2E9C-101B-9397-08002B2CF9AE}" pid="20" name="ho_HilfslinienVertical18">
    <vt:lpwstr/>
  </property>
  <property fmtid="{D5CDD505-2E9C-101B-9397-08002B2CF9AE}" pid="21" name="ho_HilfslinienVertical19">
    <vt:lpwstr/>
  </property>
  <property fmtid="{D5CDD505-2E9C-101B-9397-08002B2CF9AE}" pid="22" name="ho_HilfslinienVertical20">
    <vt:lpwstr/>
  </property>
  <property fmtid="{D5CDD505-2E9C-101B-9397-08002B2CF9AE}" pid="23" name="ho_HilfslinienHorizontal">
    <vt:lpwstr>CustomLayout</vt:lpwstr>
  </property>
  <property fmtid="{D5CDD505-2E9C-101B-9397-08002B2CF9AE}" pid="24" name="ho_HilfslinienHorizontal1">
    <vt:lpwstr>.6</vt:lpwstr>
  </property>
  <property fmtid="{D5CDD505-2E9C-101B-9397-08002B2CF9AE}" pid="25" name="ho_HilfslinienHorizontal2">
    <vt:lpwstr>1.8</vt:lpwstr>
  </property>
  <property fmtid="{D5CDD505-2E9C-101B-9397-08002B2CF9AE}" pid="26" name="ho_HilfslinienHorizontal3">
    <vt:lpwstr>2.4</vt:lpwstr>
  </property>
  <property fmtid="{D5CDD505-2E9C-101B-9397-08002B2CF9AE}" pid="27" name="ho_HilfslinienHorizontal4">
    <vt:lpwstr>9.6</vt:lpwstr>
  </property>
  <property fmtid="{D5CDD505-2E9C-101B-9397-08002B2CF9AE}" pid="28" name="ho_HilfslinienHorizontal5">
    <vt:lpwstr>10.2</vt:lpwstr>
  </property>
  <property fmtid="{D5CDD505-2E9C-101B-9397-08002B2CF9AE}" pid="29" name="ho_HilfslinienHorizontal6">
    <vt:lpwstr>9.3</vt:lpwstr>
  </property>
  <property fmtid="{D5CDD505-2E9C-101B-9397-08002B2CF9AE}" pid="30" name="ho_HilfslinienHorizontal7">
    <vt:lpwstr>2</vt:lpwstr>
  </property>
  <property fmtid="{D5CDD505-2E9C-101B-9397-08002B2CF9AE}" pid="31" name="ho_HilfslinienHorizontal8">
    <vt:lpwstr>12.588</vt:lpwstr>
  </property>
  <property fmtid="{D5CDD505-2E9C-101B-9397-08002B2CF9AE}" pid="32" name="ho_HilfslinienHorizontal9">
    <vt:lpwstr>5</vt:lpwstr>
  </property>
  <property fmtid="{D5CDD505-2E9C-101B-9397-08002B2CF9AE}" pid="33" name="ho_HilfslinienHorizontal10">
    <vt:lpwstr/>
  </property>
  <property fmtid="{D5CDD505-2E9C-101B-9397-08002B2CF9AE}" pid="34" name="ho_HilfslinienHorizontal11">
    <vt:lpwstr/>
  </property>
  <property fmtid="{D5CDD505-2E9C-101B-9397-08002B2CF9AE}" pid="35" name="ho_HilfslinienHorizontal12">
    <vt:lpwstr/>
  </property>
  <property fmtid="{D5CDD505-2E9C-101B-9397-08002B2CF9AE}" pid="36" name="ho_HilfslinienHorizontal13">
    <vt:lpwstr/>
  </property>
  <property fmtid="{D5CDD505-2E9C-101B-9397-08002B2CF9AE}" pid="37" name="ho_HilfslinienHorizontal14">
    <vt:lpwstr/>
  </property>
  <property fmtid="{D5CDD505-2E9C-101B-9397-08002B2CF9AE}" pid="38" name="ho_HilfslinienHorizontal15">
    <vt:lpwstr/>
  </property>
  <property fmtid="{D5CDD505-2E9C-101B-9397-08002B2CF9AE}" pid="39" name="ho_HilfslinienHorizontal16">
    <vt:lpwstr/>
  </property>
  <property fmtid="{D5CDD505-2E9C-101B-9397-08002B2CF9AE}" pid="40" name="ho_HilfslinienHorizontal17">
    <vt:lpwstr/>
  </property>
  <property fmtid="{D5CDD505-2E9C-101B-9397-08002B2CF9AE}" pid="41" name="ho_HilfslinienHorizontal18">
    <vt:lpwstr/>
  </property>
  <property fmtid="{D5CDD505-2E9C-101B-9397-08002B2CF9AE}" pid="42" name="ho_HilfslinienHorizontal19">
    <vt:lpwstr/>
  </property>
  <property fmtid="{D5CDD505-2E9C-101B-9397-08002B2CF9AE}" pid="43" name="ho_HilfslinienHorizontal20">
    <vt:lpwstr/>
  </property>
  <property fmtid="{D5CDD505-2E9C-101B-9397-08002B2CF9AE}" pid="44" name="ContentTypeId">
    <vt:lpwstr>0x010100293050C74D0DF746890CF64B245C9CD6</vt:lpwstr>
  </property>
  <property fmtid="{D5CDD505-2E9C-101B-9397-08002B2CF9AE}" pid="45" name="_dlc_DocIdItemGuid">
    <vt:lpwstr>97f0cd05-346a-4175-9c66-75c144abdf8f</vt:lpwstr>
  </property>
</Properties>
</file>